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686" r:id="rId3"/>
    <p:sldMasterId id="2147483709" r:id="rId4"/>
    <p:sldMasterId id="2147483724" r:id="rId5"/>
    <p:sldMasterId id="2147483735" r:id="rId6"/>
    <p:sldMasterId id="2147483752" r:id="rId7"/>
    <p:sldMasterId id="2147483782" r:id="rId8"/>
    <p:sldMasterId id="2147483795" r:id="rId9"/>
  </p:sldMasterIdLst>
  <p:notesMasterIdLst>
    <p:notesMasterId r:id="rId25"/>
  </p:notesMasterIdLst>
  <p:sldIdLst>
    <p:sldId id="587" r:id="rId10"/>
    <p:sldId id="577" r:id="rId11"/>
    <p:sldId id="556" r:id="rId12"/>
    <p:sldId id="314" r:id="rId13"/>
    <p:sldId id="3702" r:id="rId14"/>
    <p:sldId id="258" r:id="rId15"/>
    <p:sldId id="257" r:id="rId16"/>
    <p:sldId id="3698" r:id="rId17"/>
    <p:sldId id="3699" r:id="rId18"/>
    <p:sldId id="3700" r:id="rId19"/>
    <p:sldId id="3701" r:id="rId20"/>
    <p:sldId id="891" r:id="rId21"/>
    <p:sldId id="582" r:id="rId22"/>
    <p:sldId id="3686" r:id="rId23"/>
    <p:sldId id="3685" r:id="rId24"/>
  </p:sldIdLst>
  <p:sldSz cx="12192000" cy="6858000"/>
  <p:notesSz cx="67945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iel Delaney" initials="AD" lastIdx="3" clrIdx="0">
    <p:extLst>
      <p:ext uri="{19B8F6BF-5375-455C-9EA6-DF929625EA0E}">
        <p15:presenceInfo xmlns:p15="http://schemas.microsoft.com/office/powerpoint/2012/main" userId="S::Ariel.Delaney@gatesfoundation.org::978bc6fe-beee-4c0e-8845-c9d93c996961" providerId="AD"/>
      </p:ext>
    </p:extLst>
  </p:cmAuthor>
  <p:cmAuthor id="2" name="Heather Giacoletto" initials="HG" lastIdx="1" clrIdx="1">
    <p:extLst>
      <p:ext uri="{19B8F6BF-5375-455C-9EA6-DF929625EA0E}">
        <p15:presenceInfo xmlns:p15="http://schemas.microsoft.com/office/powerpoint/2012/main" userId="S::heather.giacoletto@gatesfoundation.org::b1d29bde-b50c-4d37-b193-46b06d118ab0" providerId="AD"/>
      </p:ext>
    </p:extLst>
  </p:cmAuthor>
  <p:cmAuthor id="3" name="Brandon Mayfield" initials="BM" lastIdx="1" clrIdx="2">
    <p:extLst>
      <p:ext uri="{19B8F6BF-5375-455C-9EA6-DF929625EA0E}">
        <p15:presenceInfo xmlns:p15="http://schemas.microsoft.com/office/powerpoint/2012/main" userId="S::brandon.mayfield@gatesfoundation.org::0b35f4d9-35c8-495b-807f-42109ca7b6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88" autoAdjust="0"/>
    <p:restoredTop sz="94660"/>
  </p:normalViewPr>
  <p:slideViewPr>
    <p:cSldViewPr snapToGrid="0">
      <p:cViewPr varScale="1">
        <p:scale>
          <a:sx n="81" d="100"/>
          <a:sy n="81" d="100"/>
        </p:scale>
        <p:origin x="80" y="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200" d="100"/>
          <a:sy n="200" d="100"/>
        </p:scale>
        <p:origin x="72" y="-381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 Bohan" userId="b2cac1c4-ba9f-4cf9-a1f5-53ef80ce2cf0" providerId="ADAL" clId="{FCDA4EAB-BE6F-4588-B99C-2868C1AF2AE0}"/>
    <pc:docChg chg="modSld">
      <pc:chgData name="Matt Bohan" userId="b2cac1c4-ba9f-4cf9-a1f5-53ef80ce2cf0" providerId="ADAL" clId="{FCDA4EAB-BE6F-4588-B99C-2868C1AF2AE0}" dt="2023-03-05T09:17:39.779" v="11" actId="20577"/>
      <pc:docMkLst>
        <pc:docMk/>
      </pc:docMkLst>
      <pc:sldChg chg="modSp mod">
        <pc:chgData name="Matt Bohan" userId="b2cac1c4-ba9f-4cf9-a1f5-53ef80ce2cf0" providerId="ADAL" clId="{FCDA4EAB-BE6F-4588-B99C-2868C1AF2AE0}" dt="2023-03-05T09:17:39.779" v="11" actId="20577"/>
        <pc:sldMkLst>
          <pc:docMk/>
          <pc:sldMk cId="2740999802" sldId="587"/>
        </pc:sldMkLst>
        <pc:spChg chg="mod">
          <ac:chgData name="Matt Bohan" userId="b2cac1c4-ba9f-4cf9-a1f5-53ef80ce2cf0" providerId="ADAL" clId="{FCDA4EAB-BE6F-4588-B99C-2868C1AF2AE0}" dt="2023-03-05T09:17:39.779" v="11" actId="20577"/>
          <ac:spMkLst>
            <pc:docMk/>
            <pc:sldMk cId="2740999802" sldId="587"/>
            <ac:spMk id="16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4A497-16F9-41C3-B90A-9D764B752D37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833D63-8D04-478A-B5F4-09056130F9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139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597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gital accounts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536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rPr>
              <a:t>McKinsey Global Institute, “Digital Finance for All: Powering Inclusive Growth in Emerging Economies” (Executive Summary), September 2016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768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DIN Pro Regular" charset="0"/>
                <a:ea typeface="+mn-ea"/>
                <a:cs typeface="+mn-cs"/>
              </a:rPr>
              <a:t>VIDEO SLIDE</a:t>
            </a:r>
          </a:p>
          <a:p>
            <a:pPr lvl="0"/>
            <a:r>
              <a:rPr lang="en-US" sz="1200" b="0" i="0" kern="1200" dirty="0">
                <a:solidFill>
                  <a:schemeClr val="tx1"/>
                </a:solidFill>
                <a:effectLst/>
                <a:latin typeface="DIN Pro Regular" charset="0"/>
                <a:ea typeface="+mn-ea"/>
                <a:cs typeface="+mn-cs"/>
              </a:rPr>
              <a:t>Must be triggered from computer, not by click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C3773B-A664-1642-A5C7-7D54803C373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219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621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1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883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2384317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76251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384317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4257695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165761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4257695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165761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8021012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9929079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8021012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9929079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51722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399771"/>
            <a:ext cx="11140016" cy="1952347"/>
          </a:xfrm>
        </p:spPr>
        <p:txBody>
          <a:bodyPr anchor="t"/>
          <a:lstStyle>
            <a:lvl1pPr marL="0" indent="0">
              <a:spcBef>
                <a:spcPts val="800"/>
              </a:spcBef>
              <a:buNone/>
              <a:defRPr sz="1867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76251" y="3928615"/>
            <a:ext cx="11140016" cy="46586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733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7957039" y="1716783"/>
            <a:ext cx="3656869" cy="2084751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4221793" y="1723746"/>
            <a:ext cx="3653184" cy="2077788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87211" y="1720579"/>
            <a:ext cx="3653967" cy="2080955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59265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33387" algn="l"/>
              </a:tabLst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85085" y="1522791"/>
            <a:ext cx="11140016" cy="6240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67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6217592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34692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9110049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334692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217592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2224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29915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0837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91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36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178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41829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icon to insert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29886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067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867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867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467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28" indent="-232828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</p:spTree>
    <p:extLst>
      <p:ext uri="{BB962C8B-B14F-4D97-AF65-F5344CB8AC3E}">
        <p14:creationId xmlns:p14="http://schemas.microsoft.com/office/powerpoint/2010/main" val="237015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02B6-B4D6-47C1-87FC-6FA4B0F0D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4895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41495" y="360631"/>
            <a:ext cx="11581613" cy="606476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5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79107" y="5630430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2" t="8510"/>
          <a:stretch/>
        </p:blipFill>
        <p:spPr>
          <a:xfrm>
            <a:off x="341495" y="271117"/>
            <a:ext cx="11581613" cy="624379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9165" y="279949"/>
            <a:ext cx="1091900" cy="8437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39961" y="271116"/>
            <a:ext cx="6220671" cy="6256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09168" y="660381"/>
            <a:ext cx="5682256" cy="5091451"/>
          </a:xfrm>
          <a:prstGeom prst="rect">
            <a:avLst/>
          </a:prstGeom>
        </p:spPr>
        <p:txBody>
          <a:bodyPr/>
          <a:lstStyle>
            <a:lvl1pPr>
              <a:defRPr sz="5600">
                <a:solidFill>
                  <a:schemeClr val="bg1"/>
                </a:solidFill>
              </a:defRPr>
            </a:lvl1pPr>
            <a:lvl2pPr>
              <a:defRPr sz="5600">
                <a:solidFill>
                  <a:schemeClr val="bg1"/>
                </a:solidFill>
              </a:defRPr>
            </a:lvl2pPr>
            <a:lvl3pPr>
              <a:defRPr sz="5600">
                <a:solidFill>
                  <a:schemeClr val="bg1"/>
                </a:solidFill>
              </a:defRPr>
            </a:lvl3pPr>
            <a:lvl4pPr>
              <a:defRPr sz="5600">
                <a:solidFill>
                  <a:schemeClr val="bg1"/>
                </a:solidFill>
              </a:defRPr>
            </a:lvl4pPr>
            <a:lvl5pPr>
              <a:defRPr sz="5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10165" y="9459134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10165" y="9366145"/>
            <a:ext cx="1451363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67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1126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41495" y="360631"/>
            <a:ext cx="11581613" cy="6064767"/>
            <a:chOff x="218799" y="211342"/>
            <a:chExt cx="8686210" cy="6064767"/>
          </a:xfrm>
        </p:grpSpPr>
        <p:sp>
          <p:nvSpPr>
            <p:cNvPr id="5" name="Rectangle 4"/>
            <p:cNvSpPr/>
            <p:nvPr userDrawn="1"/>
          </p:nvSpPr>
          <p:spPr>
            <a:xfrm>
              <a:off x="218799" y="211342"/>
              <a:ext cx="8686210" cy="606476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55" dirty="0"/>
            </a:p>
          </p:txBody>
        </p:sp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9551" y="211342"/>
              <a:ext cx="818925" cy="843741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942" b="32821"/>
            <a:stretch/>
          </p:blipFill>
          <p:spPr>
            <a:xfrm>
              <a:off x="2672564" y="267201"/>
              <a:ext cx="4642636" cy="6008908"/>
            </a:xfrm>
            <a:prstGeom prst="rect">
              <a:avLst/>
            </a:prstGeom>
          </p:spPr>
        </p:pic>
      </p:grp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86367" y="1076325"/>
            <a:ext cx="4087284" cy="25146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52055" y="3070972"/>
            <a:ext cx="4087284" cy="2514600"/>
          </a:xfrm>
          <a:prstGeom prst="rect">
            <a:avLst/>
          </a:prstGeom>
        </p:spPr>
        <p:txBody>
          <a:bodyPr anchor="ctr"/>
          <a:lstStyle>
            <a:lvl1pPr algn="ctr">
              <a:defRPr sz="96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738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5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0608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2144890"/>
            <a:ext cx="10998200" cy="4237249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4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96900" y="1385794"/>
            <a:ext cx="10998200" cy="577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7835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1" y="1411112"/>
            <a:ext cx="5301876" cy="49710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865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899" y="1444979"/>
            <a:ext cx="5242560" cy="484725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52540" y="1444979"/>
            <a:ext cx="5242560" cy="484725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2799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9068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57289"/>
            <a:ext cx="10998200" cy="6318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lang="en-US"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283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>
              <a:defRPr lang="en-US"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63516"/>
            <a:ext cx="10998200" cy="631825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>
              <a:defRPr lang="en-US" sz="24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6900" y="1907822"/>
            <a:ext cx="10998200" cy="4474316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6895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8582"/>
            <a:ext cx="10972800" cy="792162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769"/>
            <a:ext cx="5242560" cy="63976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62061"/>
            <a:ext cx="5242560" cy="414578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Font typeface="Arial"/>
              <a:buChar char="•"/>
              <a:defRPr sz="2400"/>
            </a:lvl1pPr>
            <a:lvl2pPr>
              <a:spcBef>
                <a:spcPts val="600"/>
              </a:spcBef>
              <a:spcAft>
                <a:spcPts val="300"/>
              </a:spcAft>
              <a:buFont typeface="Lucida Grande"/>
              <a:buChar char="­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0" y="1371769"/>
            <a:ext cx="5242560" cy="63976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0" y="2265186"/>
            <a:ext cx="5242560" cy="414223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SzPct val="125000"/>
              <a:buFont typeface="Arial"/>
              <a:buChar char="•"/>
              <a:defRPr sz="2400"/>
            </a:lvl1pPr>
            <a:lvl2pPr>
              <a:spcBef>
                <a:spcPts val="600"/>
              </a:spcBef>
              <a:spcAft>
                <a:spcPts val="300"/>
              </a:spcAft>
              <a:buFont typeface="Lucida Grande"/>
              <a:buChar char="­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646833" y="6475413"/>
            <a:ext cx="914400" cy="25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solidFill>
                  <a:schemeClr val="tx2"/>
                </a:solidFill>
                <a:latin typeface="Avenir LT Std 55 Roman"/>
                <a:ea typeface="+mn-ea"/>
                <a:cs typeface="Avenir LT Std 55 Roman"/>
              </a:defRPr>
            </a:lvl1pPr>
          </a:lstStyle>
          <a:p>
            <a:pPr>
              <a:defRPr/>
            </a:pPr>
            <a:fld id="{EDC83D00-6748-ED4C-8D42-5989CF2424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3816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ovember 1, 2018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98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4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>
              <a:lumMod val="75000"/>
            </a:schemeClr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0135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s +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299" y="646177"/>
            <a:ext cx="11112501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7779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A2521E-50BF-AD4F-BE68-5804882FEE1A}"/>
              </a:ext>
            </a:extLst>
          </p:cNvPr>
          <p:cNvSpPr/>
          <p:nvPr userDrawn="1"/>
        </p:nvSpPr>
        <p:spPr>
          <a:xfrm>
            <a:off x="2425700" y="1566041"/>
            <a:ext cx="9187379" cy="46035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F1E7D4-28C8-E245-B51D-1270F5C9C060}"/>
              </a:ext>
            </a:extLst>
          </p:cNvPr>
          <p:cNvSpPr/>
          <p:nvPr userDrawn="1"/>
        </p:nvSpPr>
        <p:spPr>
          <a:xfrm>
            <a:off x="495300" y="1566041"/>
            <a:ext cx="1859017" cy="46035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tlCol="0" anchor="t"/>
          <a:lstStyle/>
          <a:p>
            <a:pPr>
              <a:spcAft>
                <a:spcPts val="600"/>
              </a:spcAft>
            </a:pPr>
            <a:endParaRPr lang="en-US" sz="90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AB0B58-34FE-3C44-BCD0-62A8E308A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2761BB-0AAA-9344-BB9B-4636968E098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5E4C0-1300-BE4C-BD7B-928440C627D5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9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3" pos="7251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480">
          <p15:clr>
            <a:srgbClr val="FBAE40"/>
          </p15:clr>
        </p15:guide>
        <p15:guide id="8" pos="1528">
          <p15:clr>
            <a:srgbClr val="FBAE40"/>
          </p15:clr>
        </p15:guide>
        <p15:guide id="9" pos="1581">
          <p15:clr>
            <a:srgbClr val="FBAE40"/>
          </p15:clr>
        </p15:guide>
        <p15:guide id="10" pos="7312">
          <p15:clr>
            <a:srgbClr val="FBAE40"/>
          </p15:clr>
        </p15:guide>
        <p15:guide id="11" orient="horz" pos="1293">
          <p15:clr>
            <a:srgbClr val="FBAE40"/>
          </p15:clr>
        </p15:guide>
        <p15:guide id="12" orient="horz" pos="3827">
          <p15:clr>
            <a:srgbClr val="FBAE40"/>
          </p15:clr>
        </p15:guide>
        <p15:guide id="13" orient="horz" pos="104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s +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1052688"/>
            <a:ext cx="11112499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F1E7D4-28C8-E245-B51D-1270F5C9C060}"/>
              </a:ext>
            </a:extLst>
          </p:cNvPr>
          <p:cNvSpPr/>
          <p:nvPr userDrawn="1"/>
        </p:nvSpPr>
        <p:spPr>
          <a:xfrm>
            <a:off x="495300" y="1566041"/>
            <a:ext cx="1859017" cy="46035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tlCol="0" anchor="t"/>
          <a:lstStyle/>
          <a:p>
            <a:pPr>
              <a:spcAft>
                <a:spcPts val="600"/>
              </a:spcAft>
            </a:pPr>
            <a:endParaRPr lang="en-US" sz="90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A1DDF2-063B-314C-A62C-261F6CCE68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067593-15F3-4A4C-B2BF-2AF4A1C8D3A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3ED131-6591-984B-A6E8-DC5832DD63E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4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3" pos="7251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7" pos="1480">
          <p15:clr>
            <a:srgbClr val="FBAE40"/>
          </p15:clr>
        </p15:guide>
        <p15:guide id="8" pos="1528">
          <p15:clr>
            <a:srgbClr val="FBAE40"/>
          </p15:clr>
        </p15:guide>
        <p15:guide id="9" pos="1581">
          <p15:clr>
            <a:srgbClr val="FBAE40"/>
          </p15:clr>
        </p15:guide>
        <p15:guide id="10" pos="7312">
          <p15:clr>
            <a:srgbClr val="FBAE40"/>
          </p15:clr>
        </p15:guide>
        <p15:guide id="11" orient="horz" pos="1293">
          <p15:clr>
            <a:srgbClr val="FBAE40"/>
          </p15:clr>
        </p15:guide>
        <p15:guide id="12" orient="horz" pos="3827">
          <p15:clr>
            <a:srgbClr val="FBAE40"/>
          </p15:clr>
        </p15:guide>
        <p15:guide id="13" orient="horz" pos="104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0"/>
            <a:ext cx="11117779" cy="46021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16C6DE-8706-BE43-B5D0-E2C6FF273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05B5C-0114-1840-8C4E-20261A4DBFA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D25815-C509-994D-88DC-DCFE470CB31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70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Medium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0"/>
            <a:ext cx="11112500" cy="46021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F56A8AC-C80A-1D41-9C5D-FC4AE0CCCD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3574F9-AFE0-494E-94C5-895270EF370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7CB70F-7458-814F-939D-1D22FCDC0180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00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499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6265718"/>
            <a:ext cx="11112500" cy="173182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0" y="1562101"/>
            <a:ext cx="11112500" cy="46021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F06D1B3-422E-EF46-86FE-AFBA382F2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en-US" dirty="0">
                <a:solidFill>
                  <a:schemeClr val="accent6"/>
                </a:solidFill>
              </a:defRPr>
            </a:lvl1pPr>
          </a:lstStyle>
          <a:p>
            <a:fld id="{4290442A-A587-DA4A-80BE-9E74F9AF5476}" type="slidenum">
              <a:rPr smtClean="0"/>
              <a:pPr/>
              <a:t>‹#›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379A32-FB0D-0A46-BB28-902E4BDBD27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3A64A9-C7EB-9342-B299-89743F7BC70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87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646177"/>
            <a:ext cx="11112500" cy="292608"/>
          </a:xfrm>
        </p:spPr>
        <p:txBody>
          <a:bodyPr anchor="ctr"/>
          <a:lstStyle>
            <a:lvl1pPr>
              <a:defRPr sz="2300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1052688"/>
            <a:ext cx="11112501" cy="285750"/>
          </a:xfrm>
        </p:spPr>
        <p:txBody>
          <a:bodyPr/>
          <a:lstStyle>
            <a:lvl1pPr>
              <a:defRPr sz="11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299" y="6265718"/>
            <a:ext cx="11112501" cy="197426"/>
          </a:xfrm>
        </p:spPr>
        <p:txBody>
          <a:bodyPr/>
          <a:lstStyle>
            <a:lvl1pPr>
              <a:defRPr sz="700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06CC56D-0CAA-3D4A-B5D0-68212404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49E9C1-A18A-154F-8266-866DF503919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62585" y="6524509"/>
            <a:ext cx="4114800" cy="210312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Team Name: Presentation Nam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D8B0FD-A1EB-4741-A810-A2137D5F5065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122665" y="6524509"/>
            <a:ext cx="1143000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vember 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80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  <p15:guide id="11" pos="3767">
          <p15:clr>
            <a:srgbClr val="FBAE40"/>
          </p15:clr>
        </p15:guide>
        <p15:guide id="12" pos="38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921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0777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1617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68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108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07117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0193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4418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65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70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599665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DA8AE-65E6-47EE-8302-C2A8581295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103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1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85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4666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62361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37656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13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2640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86335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718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3479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21833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513667"/>
            <a:ext cx="2434443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1772" y="3513667"/>
            <a:ext cx="4780229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87384" y="0"/>
            <a:ext cx="7304616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42946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766851" y="0"/>
            <a:ext cx="2425148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4887385" y="0"/>
            <a:ext cx="479995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468624"/>
            <a:ext cx="243444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4592" y="3468624"/>
            <a:ext cx="4777409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89237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46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2272748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412805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9814560" y="2352260"/>
            <a:ext cx="2377440" cy="177579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</a:t>
            </a:r>
            <a:r>
              <a:rPr lang="en-US" dirty="0"/>
              <a:t>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4207564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4207566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4204651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73164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350972" y="2914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4887384" y="291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9814560" y="1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1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4916557"/>
            <a:ext cx="11106151" cy="1340311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476251" y="1598085"/>
            <a:ext cx="11140016" cy="31594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1692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58900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04121"/>
            <a:ext cx="11106151" cy="511656"/>
          </a:xfrm>
        </p:spPr>
        <p:txBody>
          <a:bodyPr/>
          <a:lstStyle>
            <a:lvl1pPr>
              <a:spcBef>
                <a:spcPts val="800"/>
              </a:spcBef>
              <a:defRPr sz="1867" b="0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62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857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0953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0404847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1310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4405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7500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62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37857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70953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404847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1310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54405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7500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762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37857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70953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10404847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21310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4405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87500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52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2384317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76251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384317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4257695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165761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4257695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165761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8021012" y="1619251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9929079" y="2594034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8021012" y="3710517"/>
            <a:ext cx="1828800" cy="1828800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9929079" y="4685300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33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271201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399771"/>
            <a:ext cx="11140016" cy="1952347"/>
          </a:xfrm>
        </p:spPr>
        <p:txBody>
          <a:bodyPr anchor="t"/>
          <a:lstStyle>
            <a:lvl1pPr marL="0" indent="0">
              <a:spcBef>
                <a:spcPts val="800"/>
              </a:spcBef>
              <a:buNone/>
              <a:defRPr sz="1867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76251" y="3928615"/>
            <a:ext cx="11140016" cy="46586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733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7957039" y="1716783"/>
            <a:ext cx="3656869" cy="2084751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4221793" y="1723746"/>
            <a:ext cx="3653184" cy="2077788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87211" y="1720579"/>
            <a:ext cx="3653967" cy="2080955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33921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33387" algn="l"/>
              </a:tabLst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85085" y="1522791"/>
            <a:ext cx="11140016" cy="6240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67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067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6217592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34692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9110049" y="2338765"/>
            <a:ext cx="2487168" cy="1987296"/>
          </a:xfrm>
          <a:noFill/>
        </p:spPr>
        <p:txBody>
          <a:bodyPr tIns="91440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334692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217592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2224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733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94" indent="-228594">
              <a:spcBef>
                <a:spcPts val="800"/>
              </a:spcBef>
              <a:buFont typeface="Wingdings" panose="05000000000000000000" pitchFamily="2" charset="2"/>
              <a:buChar char="§"/>
              <a:defRPr sz="1333" baseline="0"/>
            </a:lvl2pPr>
            <a:lvl3pPr marL="455073" indent="-228594">
              <a:spcBef>
                <a:spcPts val="800"/>
              </a:spcBef>
              <a:buFont typeface="Arial" panose="020B0604020202020204" pitchFamily="34" charset="0"/>
              <a:buChar char="•"/>
              <a:tabLst/>
              <a:defRPr sz="1333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66318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F8BAC-DAC9-4F59-ADFF-D9C9CCA729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290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10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8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49" y="4657353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81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50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50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50" y="4657353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50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50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6855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1282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754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50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87055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5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84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50" y="1162283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49" y="1949459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49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675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574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432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94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183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432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02093C-954A-204F-91AD-A91511B1258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8F6EAF-9DE2-461D-BF67-4CBDAEBE5A71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7399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A3BA90-AA19-4D61-8B8B-DB3A0508B1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1A141-73BE-439D-9FD2-798B61951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DC9E11-7EC0-4C91-A793-D28E2FAFC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E8D42-E135-471C-8B21-B45123EBD6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117784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096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541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41495" y="360631"/>
            <a:ext cx="11581613" cy="606476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5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79107" y="5630430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2" t="8510"/>
          <a:stretch/>
        </p:blipFill>
        <p:spPr>
          <a:xfrm>
            <a:off x="341495" y="271117"/>
            <a:ext cx="11581613" cy="624379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9165" y="279949"/>
            <a:ext cx="1091900" cy="8437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39961" y="271116"/>
            <a:ext cx="6220671" cy="6256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>
          <a:xfrm>
            <a:off x="609168" y="660381"/>
            <a:ext cx="5682256" cy="5091451"/>
          </a:xfrm>
          <a:prstGeom prst="rect">
            <a:avLst/>
          </a:prstGeom>
        </p:spPr>
        <p:txBody>
          <a:bodyPr/>
          <a:lstStyle>
            <a:lvl1pPr>
              <a:defRPr sz="5600">
                <a:solidFill>
                  <a:schemeClr val="bg1"/>
                </a:solidFill>
              </a:defRPr>
            </a:lvl1pPr>
            <a:lvl2pPr>
              <a:defRPr sz="5600">
                <a:solidFill>
                  <a:schemeClr val="bg1"/>
                </a:solidFill>
              </a:defRPr>
            </a:lvl2pPr>
            <a:lvl3pPr>
              <a:defRPr sz="5600">
                <a:solidFill>
                  <a:schemeClr val="bg1"/>
                </a:solidFill>
              </a:defRPr>
            </a:lvl3pPr>
            <a:lvl4pPr>
              <a:defRPr sz="5600">
                <a:solidFill>
                  <a:schemeClr val="bg1"/>
                </a:solidFill>
              </a:defRPr>
            </a:lvl4pPr>
            <a:lvl5pPr>
              <a:defRPr sz="5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910165" y="9459134"/>
            <a:ext cx="6239720" cy="242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638605">
              <a:spcAft>
                <a:spcPts val="300"/>
              </a:spcAft>
            </a:pPr>
            <a:r>
              <a:rPr lang="en-US" sz="900" b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The Level One Project is an initiative of The Bill &amp; Melinda Gates Foundation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10165" y="9366145"/>
            <a:ext cx="1451363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7EB8D-24A5-8346-87C5-61769197D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47F50B-E3DA-5B4D-A0C4-A11772543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9435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3F7C509-FEEF-45D3-B896-7C07814C0C13}" type="slidenum">
              <a:rPr lang="uk-UA" smtClean="0"/>
              <a:pPr algn="r"/>
              <a:t>‹#›</a:t>
            </a:fld>
            <a:endParaRPr lang="uk-UA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41495" y="360631"/>
            <a:ext cx="11581613" cy="6064767"/>
            <a:chOff x="218799" y="211342"/>
            <a:chExt cx="8686210" cy="6064767"/>
          </a:xfrm>
        </p:grpSpPr>
        <p:sp>
          <p:nvSpPr>
            <p:cNvPr id="5" name="Rectangle 4"/>
            <p:cNvSpPr/>
            <p:nvPr userDrawn="1"/>
          </p:nvSpPr>
          <p:spPr>
            <a:xfrm>
              <a:off x="218799" y="211342"/>
              <a:ext cx="8686210" cy="606476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55" dirty="0"/>
            </a:p>
          </p:txBody>
        </p:sp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9551" y="211342"/>
              <a:ext cx="818925" cy="843741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942" b="32821"/>
            <a:stretch/>
          </p:blipFill>
          <p:spPr>
            <a:xfrm>
              <a:off x="2672564" y="267201"/>
              <a:ext cx="4642636" cy="6008908"/>
            </a:xfrm>
            <a:prstGeom prst="rect">
              <a:avLst/>
            </a:prstGeom>
          </p:spPr>
        </p:pic>
      </p:grp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86367" y="1076325"/>
            <a:ext cx="4087284" cy="25146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52055" y="3070972"/>
            <a:ext cx="4087284" cy="2514600"/>
          </a:xfrm>
          <a:prstGeom prst="rect">
            <a:avLst/>
          </a:prstGeom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93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5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954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1720234"/>
            <a:ext cx="10998200" cy="466190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72E75F-2C81-F541-BE28-295DB219354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3">
              <a:lumMod val="75000"/>
            </a:schemeClr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241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1867" y="1472275"/>
            <a:ext cx="10998200" cy="94297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None/>
              <a:defRPr sz="18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>
          <a:xfrm>
            <a:off x="596900" y="6492241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72E75F-2C81-F541-BE28-295DB219354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accent3">
              <a:lumMod val="75000"/>
            </a:schemeClr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C41AE3-DA65-4249-937C-88D8D6D44E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6900" y="2579426"/>
            <a:ext cx="5444067" cy="371977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490B1D-8A94-184C-B4A9-F93166CF72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6867" y="2579426"/>
            <a:ext cx="5283200" cy="371977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278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0" y="2144890"/>
            <a:ext cx="10998200" cy="4237249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7713" indent="-280988">
              <a:buClr>
                <a:schemeClr val="accent4"/>
              </a:buClr>
              <a:buSzPct val="125000"/>
              <a:buFont typeface="Arial" charset="0"/>
              <a:buChar char="•"/>
              <a:tabLst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900" y="471394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sz="3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96900" y="1385794"/>
            <a:ext cx="10998200" cy="577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sz="20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DC7996E7-112B-9343-A924-A367D5A8BCB1}"/>
              </a:ext>
            </a:extLst>
          </p:cNvPr>
          <p:cNvSpPr txBox="1">
            <a:spLocks/>
          </p:cNvSpPr>
          <p:nvPr userDrawn="1"/>
        </p:nvSpPr>
        <p:spPr>
          <a:xfrm>
            <a:off x="-690880" y="64928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1470484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35242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70484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05726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40968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76210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11451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6694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81936" algn="l" defTabSz="1470484" rtl="0" eaLnBrk="1" latinLnBrk="0" hangingPunct="1">
              <a:defRPr sz="28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5">
                    <a:lumMod val="75000"/>
                  </a:schemeClr>
                </a:solidFill>
              </a:rPr>
              <a:t>Ethiopia Workshop 2019</a:t>
            </a:r>
            <a:endParaRPr lang="en-US" sz="1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BD331AF6-2DA3-ED47-9BA8-71404279D2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3909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3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6901" y="1411112"/>
            <a:ext cx="5301876" cy="49710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spcAft>
                <a:spcPts val="1200"/>
              </a:spcAft>
              <a:buClr>
                <a:schemeClr val="accent4"/>
              </a:buClr>
              <a:buSzPct val="125000"/>
              <a:buFont typeface="Arial" charset="0"/>
              <a:buChar char="•"/>
              <a:defRPr sz="2400">
                <a:solidFill>
                  <a:schemeClr val="tx1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46075" indent="-346075">
              <a:tabLst/>
              <a:defRPr sz="2400">
                <a:solidFill>
                  <a:schemeClr val="tx1">
                    <a:lumMod val="75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A7916093-4CE1-014D-86DD-99D56622F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96900" y="6492876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5DE71FE8-DD6A-954F-9C8E-C05C9437DD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9884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2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85656D4D-057E-484C-92C3-B55103E15E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96900" y="6432550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4C76DE5D-E29E-E548-BF68-ED42CDE25DF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752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6900" y="242888"/>
            <a:ext cx="109982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anchor="ctr"/>
          <a:lstStyle>
            <a:lvl1pPr>
              <a:defRPr lang="en-US" sz="2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6900" y="1157289"/>
            <a:ext cx="10998200" cy="6318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>
              <a:defRPr lang="en-US" sz="2400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B7817A3E-6DCE-6D42-B19C-DF0A83970B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96900" y="6432550"/>
            <a:ext cx="4114800" cy="365125"/>
          </a:xfrm>
        </p:spPr>
        <p:txBody>
          <a:bodyPr/>
          <a:lstStyle/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00728CEC-2E10-FA45-AC7C-469C92373B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8378" y="6492240"/>
            <a:ext cx="253445" cy="365760"/>
          </a:xfrm>
        </p:spPr>
        <p:txBody>
          <a:bodyPr/>
          <a:lstStyle/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2918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24">
          <p15:clr>
            <a:srgbClr val="FBAE40"/>
          </p15:clr>
        </p15:guide>
        <p15:guide id="2" pos="2943">
          <p15:clr>
            <a:srgbClr val="FBAE40"/>
          </p15:clr>
        </p15:guide>
        <p15:guide id="3" pos="2815">
          <p15:clr>
            <a:srgbClr val="FBAE40"/>
          </p15:clr>
        </p15:guide>
        <p15:guide id="4" pos="2525">
          <p15:clr>
            <a:srgbClr val="FBAE40"/>
          </p15:clr>
        </p15:guide>
        <p15:guide id="5" pos="2396">
          <p15:clr>
            <a:srgbClr val="FBAE40"/>
          </p15:clr>
        </p15:guide>
        <p15:guide id="6" pos="2105">
          <p15:clr>
            <a:srgbClr val="FBAE40"/>
          </p15:clr>
        </p15:guide>
        <p15:guide id="7" pos="1976">
          <p15:clr>
            <a:srgbClr val="FBAE40"/>
          </p15:clr>
        </p15:guide>
        <p15:guide id="8" pos="1685">
          <p15:clr>
            <a:srgbClr val="FBAE40"/>
          </p15:clr>
        </p15:guide>
        <p15:guide id="9" pos="1556">
          <p15:clr>
            <a:srgbClr val="FBAE40"/>
          </p15:clr>
        </p15:guide>
        <p15:guide id="10" pos="1261">
          <p15:clr>
            <a:srgbClr val="FBAE40"/>
          </p15:clr>
        </p15:guide>
        <p15:guide id="11" pos="1135">
          <p15:clr>
            <a:srgbClr val="FBAE40"/>
          </p15:clr>
        </p15:guide>
        <p15:guide id="12" pos="844">
          <p15:clr>
            <a:srgbClr val="FBAE40"/>
          </p15:clr>
        </p15:guide>
        <p15:guide id="13" pos="715">
          <p15:clr>
            <a:srgbClr val="FBAE40"/>
          </p15:clr>
        </p15:guide>
        <p15:guide id="14" pos="424">
          <p15:clr>
            <a:srgbClr val="FBAE40"/>
          </p15:clr>
        </p15:guide>
        <p15:guide id="15" pos="3232">
          <p15:clr>
            <a:srgbClr val="FBAE40"/>
          </p15:clr>
        </p15:guide>
        <p15:guide id="16" pos="3364">
          <p15:clr>
            <a:srgbClr val="FBAE40"/>
          </p15:clr>
        </p15:guide>
        <p15:guide id="17" pos="3655">
          <p15:clr>
            <a:srgbClr val="FBAE40"/>
          </p15:clr>
        </p15:guide>
        <p15:guide id="18" pos="3784">
          <p15:clr>
            <a:srgbClr val="FBAE40"/>
          </p15:clr>
        </p15:guide>
        <p15:guide id="19" pos="4072">
          <p15:clr>
            <a:srgbClr val="FBAE40"/>
          </p15:clr>
        </p15:guide>
        <p15:guide id="20" pos="4204">
          <p15:clr>
            <a:srgbClr val="FBAE40"/>
          </p15:clr>
        </p15:guide>
        <p15:guide id="21" pos="4493">
          <p15:clr>
            <a:srgbClr val="FBAE40"/>
          </p15:clr>
        </p15:guide>
        <p15:guide id="22" pos="4625">
          <p15:clr>
            <a:srgbClr val="FBAE40"/>
          </p15:clr>
        </p15:guide>
        <p15:guide id="23" pos="4913">
          <p15:clr>
            <a:srgbClr val="FBAE40"/>
          </p15:clr>
        </p15:guide>
        <p15:guide id="24" pos="5045">
          <p15:clr>
            <a:srgbClr val="FBAE40"/>
          </p15:clr>
        </p15:guide>
        <p15:guide id="25" pos="5333">
          <p15:clr>
            <a:srgbClr val="FBAE40"/>
          </p15:clr>
        </p15:guide>
        <p15:guide id="26" orient="horz" pos="1064">
          <p15:clr>
            <a:srgbClr val="FBAE40"/>
          </p15:clr>
        </p15:guide>
        <p15:guide id="27" orient="horz" pos="884">
          <p15:clr>
            <a:srgbClr val="FBAE40"/>
          </p15:clr>
        </p15:guide>
        <p15:guide id="28" orient="horz" pos="593">
          <p15:clr>
            <a:srgbClr val="FBAE40"/>
          </p15:clr>
        </p15:guide>
        <p15:guide id="29" orient="horz" pos="199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- T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1" y="646177"/>
            <a:ext cx="11112500" cy="292608"/>
          </a:xfrm>
        </p:spPr>
        <p:txBody>
          <a:bodyPr anchor="ctr"/>
          <a:lstStyle>
            <a:lvl1pPr>
              <a:defRPr sz="1725" b="1" cap="all" baseline="0"/>
            </a:lvl1pPr>
          </a:lstStyle>
          <a:p>
            <a:r>
              <a:rPr lang="en-US" dirty="0"/>
              <a:t>Insert headline he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1052688"/>
            <a:ext cx="11112501" cy="285750"/>
          </a:xfrm>
        </p:spPr>
        <p:txBody>
          <a:bodyPr/>
          <a:lstStyle>
            <a:lvl1pPr>
              <a:defRPr sz="825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ge description / narrative tex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6265718"/>
            <a:ext cx="11112501" cy="197426"/>
          </a:xfrm>
        </p:spPr>
        <p:txBody>
          <a:bodyPr/>
          <a:lstStyle>
            <a:lvl1pPr>
              <a:defRPr sz="525" i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97DCF9-60C0-514D-BFED-C7D7EEC27DBA}"/>
              </a:ext>
            </a:extLst>
          </p:cNvPr>
          <p:cNvSpPr/>
          <p:nvPr userDrawn="1"/>
        </p:nvSpPr>
        <p:spPr>
          <a:xfrm>
            <a:off x="495301" y="1562102"/>
            <a:ext cx="11117779" cy="46021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1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16C6DE-8706-BE43-B5D0-E2C6FF273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5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525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05B5C-0114-1840-8C4E-20261A4DBFA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D25815-C509-994D-88DC-DCFE470CB31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2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312">
          <p15:clr>
            <a:srgbClr val="FBAE40"/>
          </p15:clr>
        </p15:guide>
        <p15:guide id="4" orient="horz" pos="3883">
          <p15:clr>
            <a:srgbClr val="FBAE40"/>
          </p15:clr>
        </p15:guide>
        <p15:guide id="6" orient="horz" pos="752">
          <p15:clr>
            <a:srgbClr val="FBAE40"/>
          </p15:clr>
        </p15:guide>
        <p15:guide id="10" pos="73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6076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10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8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49" y="4657353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36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81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50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50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50" y="4657353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50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131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9244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35889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49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50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83147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5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943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50" y="1162283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49" y="1949459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49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808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49" y="646263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954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2003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94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331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4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>
                <a:solidFill>
                  <a:srgbClr val="00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58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00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196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8705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BE3407-8275-49D9-845F-4BF5924A8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BE3407-8275-49D9-845F-4BF5924A8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71628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98457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39319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402767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68829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73628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86833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7027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9589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513667"/>
            <a:ext cx="2434443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1772" y="3513667"/>
            <a:ext cx="4780229" cy="334433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87384" y="0"/>
            <a:ext cx="7304616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416661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766851" y="0"/>
            <a:ext cx="2425148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4887385" y="0"/>
            <a:ext cx="479995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5" y="3468624"/>
            <a:ext cx="2434443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414592" y="3468624"/>
            <a:ext cx="4777409" cy="338937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5581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3401484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81665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814560" y="1"/>
            <a:ext cx="2377440" cy="2272748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4887384" y="1"/>
            <a:ext cx="4839713" cy="412805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9814560" y="2352260"/>
            <a:ext cx="2377440" cy="177579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4207564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4207566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4204651"/>
            <a:ext cx="2377440" cy="265334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81591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50972" y="3481918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887384" y="3481919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814560" y="347900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350972" y="2914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4887384" y="2915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9814560" y="1"/>
            <a:ext cx="2377440" cy="3378996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24062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4916557"/>
            <a:ext cx="11106151" cy="1340311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476251" y="1598085"/>
            <a:ext cx="11140016" cy="31594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on the icon 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59999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57278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30811" y="-1"/>
            <a:ext cx="2061188" cy="2492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r" defTabSz="1219170" rtl="0" eaLnBrk="1" latinLnBrk="0" hangingPunct="1">
              <a:defRPr lang="en-US" sz="1067" kern="120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>
              <a:solidFill>
                <a:srgbClr val="59452A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9453"/>
            <a:ext cx="11106151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</a:t>
            </a:r>
            <a:br>
              <a:rPr lang="en-US"/>
            </a:br>
            <a:r>
              <a:rPr lang="en-US"/>
              <a:t>up to 2 full-width lines, all caps</a:t>
            </a:r>
          </a:p>
        </p:txBody>
      </p:sp>
    </p:spTree>
    <p:extLst>
      <p:ext uri="{BB962C8B-B14F-4D97-AF65-F5344CB8AC3E}">
        <p14:creationId xmlns:p14="http://schemas.microsoft.com/office/powerpoint/2010/main" val="404874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04121"/>
            <a:ext cx="11106151" cy="511656"/>
          </a:xfrm>
        </p:spPr>
        <p:txBody>
          <a:bodyPr/>
          <a:lstStyle>
            <a:lvl1pPr>
              <a:spcBef>
                <a:spcPts val="800"/>
              </a:spcBef>
              <a:defRPr sz="1867" b="0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62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857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0953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0404847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131018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440551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750085" y="2100186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62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37857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70953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404847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131018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5440551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750085" y="3566331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762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37857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70953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10404847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2131018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440551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8750085" y="5032477"/>
            <a:ext cx="1211420" cy="1211420"/>
          </a:xfrm>
          <a:noFill/>
        </p:spPr>
        <p:txBody>
          <a:bodyPr/>
          <a:lstStyle>
            <a:lvl1pPr algn="l">
              <a:defRPr sz="106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11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image" Target="../media/image7.emf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tags" Target="../tags/tag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22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128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433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4096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98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8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51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50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9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384D1E-85AC-44FC-BB22-04E0C7BAD5EC}"/>
              </a:ext>
            </a:extLst>
          </p:cNvPr>
          <p:cNvSpPr txBox="1"/>
          <p:nvPr userDrawn="1"/>
        </p:nvSpPr>
        <p:spPr>
          <a:xfrm>
            <a:off x="10876756" y="209405"/>
            <a:ext cx="1219200" cy="121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867" dirty="0">
                <a:solidFill>
                  <a:srgbClr val="9B242D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439670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5BE5C0-A398-7D40-A4BA-520CFCF3B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767030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5BE5C0-A398-7D40-A4BA-520CFCF3B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4579" y="6395765"/>
            <a:ext cx="253445" cy="3657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38004" y="639608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7DD570-9796-F640-B212-DC1A648A39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02889" y="639608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76C04574-22BC-0044-9127-30C5BAFD8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365126"/>
            <a:ext cx="11159067" cy="9429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16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4" rtl="0" eaLnBrk="1" latinLnBrk="0" hangingPunct="1">
        <a:lnSpc>
          <a:spcPts val="2300"/>
        </a:lnSpc>
        <a:spcBef>
          <a:spcPct val="0"/>
        </a:spcBef>
        <a:buNone/>
        <a:defRPr sz="2800" b="0" i="0" kern="1200" cap="none" baseline="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4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5" indent="-182565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90" indent="-149227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3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4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2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9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0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12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14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2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6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7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8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51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50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9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53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F1238A-8ADF-4879-BE39-183CD26D6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98" imgH="499" progId="TCLayout.ActiveDocument.1">
                  <p:embed/>
                </p:oleObj>
              </mc:Choice>
              <mc:Fallback>
                <p:oleObj name="think-cell Slide" r:id="rId31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7F1238A-8ADF-4879-BE39-183CD26D6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4096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106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4579" y="6395765"/>
            <a:ext cx="253445" cy="3657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lvl1pPr>
              <a:defRPr lang="en-US" sz="1000" smtClean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algn="r"/>
            <a:fld id="{D3F7C509-FEEF-45D3-B896-7C07814C0C13}" type="slidenum">
              <a:rPr lang="uk-UA"/>
              <a:pPr algn="r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1277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4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4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5" indent="-182565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90" indent="-149227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3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4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2" indent="-171452" algn="l" defTabSz="914404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9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0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12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14" indent="-228601" algn="l" defTabSz="9144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2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4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6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7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0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11" algn="l" defTabSz="9144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F4CFAAD-9AB2-1A45-ACC3-0629563703BD}"/>
              </a:ext>
            </a:extLst>
          </p:cNvPr>
          <p:cNvSpPr txBox="1">
            <a:spLocks/>
          </p:cNvSpPr>
          <p:nvPr userDrawn="1"/>
        </p:nvSpPr>
        <p:spPr>
          <a:xfrm>
            <a:off x="495299" y="6527357"/>
            <a:ext cx="3853185" cy="2074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6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accent6"/>
                </a:solidFill>
              </a:rPr>
              <a:t>The Level One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D7FCF-2D24-A54D-B43D-423705300C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8104" y="6524509"/>
            <a:ext cx="549177" cy="2103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90442A-A587-DA4A-80BE-9E74F9AF547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23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veloneproject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Relationship Id="rId5" Type="http://schemas.openxmlformats.org/officeDocument/2006/relationships/hyperlink" Target="http://www.bis.org/" TargetMode="External"/><Relationship Id="rId4" Type="http://schemas.openxmlformats.org/officeDocument/2006/relationships/hyperlink" Target="http://documents.worldbank.org/curated/en/806481470154477031/pdf/107382-WP-REPLLACEMENT-PUBLIC-PAFI-Report-final-in-A4.pdf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9" name="Picture Placeholder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77" r="15819" b="22395"/>
          <a:stretch/>
        </p:blipFill>
        <p:spPr>
          <a:xfrm>
            <a:off x="26557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3208" y="-14014"/>
            <a:ext cx="6046237" cy="6858001"/>
          </a:xfrm>
          <a:prstGeom prst="rect">
            <a:avLst/>
          </a:prstGeom>
          <a:gradFill flip="none" rotWithShape="1">
            <a:gsLst>
              <a:gs pos="47000">
                <a:schemeClr val="accent6">
                  <a:alpha val="26000"/>
                </a:schemeClr>
              </a:gs>
              <a:gs pos="20000">
                <a:schemeClr val="accent6">
                  <a:alpha val="38000"/>
                </a:schemeClr>
              </a:gs>
              <a:gs pos="1000">
                <a:schemeClr val="accent6">
                  <a:alpha val="45000"/>
                </a:schemeClr>
              </a:gs>
              <a:gs pos="65000">
                <a:schemeClr val="accent6">
                  <a:alpha val="16000"/>
                </a:schemeClr>
              </a:gs>
              <a:gs pos="95000">
                <a:schemeClr val="bg1">
                  <a:alpha val="0"/>
                </a:schemeClr>
              </a:gs>
            </a:gsLst>
            <a:lin ang="0" scaled="0"/>
            <a:tileRect/>
          </a:gra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1915" tIns="60957" rIns="121915" bIns="6095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67" b="0" i="0" u="none" strike="noStrike" kern="1200" cap="none" spc="0" normalizeH="0" baseline="0" noProof="0">
              <a:ln>
                <a:noFill/>
              </a:ln>
              <a:solidFill>
                <a:srgbClr val="977C00">
                  <a:lumMod val="50000"/>
                </a:srgbClr>
              </a:soli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ctrTitle"/>
          </p:nvPr>
        </p:nvSpPr>
        <p:spPr>
          <a:xfrm>
            <a:off x="244338" y="3389208"/>
            <a:ext cx="6400828" cy="1130065"/>
          </a:xfrm>
        </p:spPr>
        <p:txBody>
          <a:bodyPr/>
          <a:lstStyle/>
          <a:p>
            <a:r>
              <a:rPr lang="en-US" dirty="0"/>
              <a:t>Introduction to:</a:t>
            </a:r>
            <a:br>
              <a:rPr lang="en-US" dirty="0"/>
            </a:br>
            <a:r>
              <a:rPr lang="en-US" dirty="0"/>
              <a:t> - Gates Foundation FSP </a:t>
            </a:r>
            <a:br>
              <a:rPr lang="en-US" dirty="0"/>
            </a:br>
            <a:r>
              <a:rPr lang="en-US" dirty="0"/>
              <a:t> - THE Level One principles</a:t>
            </a:r>
            <a:br>
              <a:rPr lang="en-US" dirty="0"/>
            </a:br>
            <a:r>
              <a:rPr lang="en-US" dirty="0"/>
              <a:t> </a:t>
            </a:r>
            <a:r>
              <a:rPr lang="en-US"/>
              <a:t>- Mojaloop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10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35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099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ystem Desig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Technolog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propriate technologies support secure, high volume, low cost, irrevocable real-time payments, securely and protecting user privacy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dentifiers / Directory 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directory enables appropriate aliases for payments addressing – including, but not limited to phone number, account number, national ID, email address or other identifier. Non-phone number identifiers may be important for ensuring privacy and should be available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System Component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 central platform, as defined by scheme rules, provides at least switching, directory, settlement, and fraud management services to participant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Common Core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ll use cases leverage the same underlying payment order and settlement protocol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Additional Protocol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ditional technical protocols support use case specific needs, such as Request to Pay and QR Code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System Connections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he system is designed to connect to other appropriate domestic systems, and to support cross-border retail use cases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557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Enabling Attribut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etwork Service and Availability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etwork and service availability are reliable and dependable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nabling Program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rograms, initiatives, and capabilities are created to serve a wide set of stakeholders and use case needs including efforts to equalize usage by women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User Educatio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propriate investment is made in user education to drive adoption of products and services, particularly among women and low-income user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ta Privacy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nd user data is secure and kept private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Gender Disaggregated Data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ta on account holders and usage can be disaggregated to support measurement </a:t>
                      </a:r>
                      <a:b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of gender gaps and related research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23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0D4FA4-FE2F-4020-A03D-006B97165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49" y="646264"/>
            <a:ext cx="11106151" cy="697577"/>
          </a:xfrm>
        </p:spPr>
        <p:txBody>
          <a:bodyPr/>
          <a:lstStyle/>
          <a:p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Market assets &amp; </a:t>
            </a:r>
            <a:r>
              <a:rPr lang="en-US" sz="2667" dirty="0">
                <a:solidFill>
                  <a:srgbClr val="FF0000"/>
                </a:solidFill>
              </a:rPr>
              <a:t> </a:t>
            </a:r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62" name="Freeform 61"/>
          <p:cNvSpPr/>
          <p:nvPr/>
        </p:nvSpPr>
        <p:spPr>
          <a:xfrm rot="5400000" flipH="1">
            <a:off x="7512763" y="5532963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1A8FC7"/>
          </a:solidFill>
          <a:ln w="12700" cap="flat" cmpd="sng" algn="ctr">
            <a:solidFill>
              <a:srgbClr val="1A8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65"/>
          <p:cNvSpPr/>
          <p:nvPr/>
        </p:nvSpPr>
        <p:spPr>
          <a:xfrm rot="16200000">
            <a:off x="2852729" y="4088708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375482"/>
          </a:solidFill>
          <a:ln w="12700" cap="flat" cmpd="sng" algn="ctr">
            <a:solidFill>
              <a:srgbClr val="37548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Freeform 69"/>
          <p:cNvSpPr/>
          <p:nvPr/>
        </p:nvSpPr>
        <p:spPr>
          <a:xfrm rot="5400000" flipH="1">
            <a:off x="8647195" y="3313401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0D8B6B"/>
          </a:solidFill>
          <a:ln w="12700" cap="flat" cmpd="sng" algn="ctr">
            <a:solidFill>
              <a:srgbClr val="0D8B6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Freeform 73"/>
          <p:cNvSpPr/>
          <p:nvPr/>
        </p:nvSpPr>
        <p:spPr>
          <a:xfrm rot="5400000" flipH="1">
            <a:off x="8194573" y="1781045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799322"/>
          </a:solidFill>
          <a:ln w="12700" cap="flat" cmpd="sng" algn="ctr">
            <a:solidFill>
              <a:srgbClr val="79932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857734" y="1480837"/>
            <a:ext cx="2320979" cy="1077218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 API Family</a:t>
            </a: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ud Management Open Source </a:t>
            </a:r>
          </a:p>
        </p:txBody>
      </p:sp>
      <p:sp>
        <p:nvSpPr>
          <p:cNvPr id="78" name="Freeform 77"/>
          <p:cNvSpPr/>
          <p:nvPr/>
        </p:nvSpPr>
        <p:spPr>
          <a:xfrm rot="16200000">
            <a:off x="3183722" y="1781045"/>
            <a:ext cx="751335" cy="627507"/>
          </a:xfrm>
          <a:custGeom>
            <a:avLst/>
            <a:gdLst>
              <a:gd name="connsiteX0" fmla="*/ 484796 w 972099"/>
              <a:gd name="connsiteY0" fmla="*/ 790649 h 879163"/>
              <a:gd name="connsiteX1" fmla="*/ 529055 w 972099"/>
              <a:gd name="connsiteY1" fmla="*/ 834906 h 879163"/>
              <a:gd name="connsiteX2" fmla="*/ 484796 w 972099"/>
              <a:gd name="connsiteY2" fmla="*/ 879163 h 879163"/>
              <a:gd name="connsiteX3" fmla="*/ 440537 w 972099"/>
              <a:gd name="connsiteY3" fmla="*/ 834906 h 879163"/>
              <a:gd name="connsiteX4" fmla="*/ 484796 w 972099"/>
              <a:gd name="connsiteY4" fmla="*/ 790649 h 879163"/>
              <a:gd name="connsiteX5" fmla="*/ 484796 w 972099"/>
              <a:gd name="connsiteY5" fmla="*/ 708099 h 879163"/>
              <a:gd name="connsiteX6" fmla="*/ 500112 w 972099"/>
              <a:gd name="connsiteY6" fmla="*/ 723415 h 879163"/>
              <a:gd name="connsiteX7" fmla="*/ 484796 w 972099"/>
              <a:gd name="connsiteY7" fmla="*/ 738731 h 879163"/>
              <a:gd name="connsiteX8" fmla="*/ 469480 w 972099"/>
              <a:gd name="connsiteY8" fmla="*/ 723415 h 879163"/>
              <a:gd name="connsiteX9" fmla="*/ 484796 w 972099"/>
              <a:gd name="connsiteY9" fmla="*/ 708099 h 879163"/>
              <a:gd name="connsiteX10" fmla="*/ 484796 w 972099"/>
              <a:gd name="connsiteY10" fmla="*/ 629179 h 879163"/>
              <a:gd name="connsiteX11" fmla="*/ 500112 w 972099"/>
              <a:gd name="connsiteY11" fmla="*/ 644495 h 879163"/>
              <a:gd name="connsiteX12" fmla="*/ 484796 w 972099"/>
              <a:gd name="connsiteY12" fmla="*/ 659811 h 879163"/>
              <a:gd name="connsiteX13" fmla="*/ 469480 w 972099"/>
              <a:gd name="connsiteY13" fmla="*/ 644495 h 879163"/>
              <a:gd name="connsiteX14" fmla="*/ 484796 w 972099"/>
              <a:gd name="connsiteY14" fmla="*/ 629179 h 879163"/>
              <a:gd name="connsiteX15" fmla="*/ 484796 w 972099"/>
              <a:gd name="connsiteY15" fmla="*/ 550259 h 879163"/>
              <a:gd name="connsiteX16" fmla="*/ 500112 w 972099"/>
              <a:gd name="connsiteY16" fmla="*/ 565575 h 879163"/>
              <a:gd name="connsiteX17" fmla="*/ 484796 w 972099"/>
              <a:gd name="connsiteY17" fmla="*/ 580891 h 879163"/>
              <a:gd name="connsiteX18" fmla="*/ 469480 w 972099"/>
              <a:gd name="connsiteY18" fmla="*/ 565575 h 879163"/>
              <a:gd name="connsiteX19" fmla="*/ 484796 w 972099"/>
              <a:gd name="connsiteY19" fmla="*/ 550259 h 879163"/>
              <a:gd name="connsiteX20" fmla="*/ 484796 w 972099"/>
              <a:gd name="connsiteY20" fmla="*/ 471340 h 879163"/>
              <a:gd name="connsiteX21" fmla="*/ 500112 w 972099"/>
              <a:gd name="connsiteY21" fmla="*/ 486656 h 879163"/>
              <a:gd name="connsiteX22" fmla="*/ 484796 w 972099"/>
              <a:gd name="connsiteY22" fmla="*/ 501972 h 879163"/>
              <a:gd name="connsiteX23" fmla="*/ 469480 w 972099"/>
              <a:gd name="connsiteY23" fmla="*/ 486656 h 879163"/>
              <a:gd name="connsiteX24" fmla="*/ 484796 w 972099"/>
              <a:gd name="connsiteY24" fmla="*/ 471340 h 879163"/>
              <a:gd name="connsiteX25" fmla="*/ 484796 w 972099"/>
              <a:gd name="connsiteY25" fmla="*/ 392421 h 879163"/>
              <a:gd name="connsiteX26" fmla="*/ 500112 w 972099"/>
              <a:gd name="connsiteY26" fmla="*/ 407737 h 879163"/>
              <a:gd name="connsiteX27" fmla="*/ 484796 w 972099"/>
              <a:gd name="connsiteY27" fmla="*/ 423053 h 879163"/>
              <a:gd name="connsiteX28" fmla="*/ 469480 w 972099"/>
              <a:gd name="connsiteY28" fmla="*/ 407737 h 879163"/>
              <a:gd name="connsiteX29" fmla="*/ 484796 w 972099"/>
              <a:gd name="connsiteY29" fmla="*/ 392421 h 879163"/>
              <a:gd name="connsiteX30" fmla="*/ 484796 w 972099"/>
              <a:gd name="connsiteY30" fmla="*/ 313501 h 879163"/>
              <a:gd name="connsiteX31" fmla="*/ 500112 w 972099"/>
              <a:gd name="connsiteY31" fmla="*/ 328817 h 879163"/>
              <a:gd name="connsiteX32" fmla="*/ 484796 w 972099"/>
              <a:gd name="connsiteY32" fmla="*/ 344133 h 879163"/>
              <a:gd name="connsiteX33" fmla="*/ 469480 w 972099"/>
              <a:gd name="connsiteY33" fmla="*/ 328817 h 879163"/>
              <a:gd name="connsiteX34" fmla="*/ 484796 w 972099"/>
              <a:gd name="connsiteY34" fmla="*/ 313501 h 879163"/>
              <a:gd name="connsiteX35" fmla="*/ 484796 w 972099"/>
              <a:gd name="connsiteY35" fmla="*/ 234581 h 879163"/>
              <a:gd name="connsiteX36" fmla="*/ 500112 w 972099"/>
              <a:gd name="connsiteY36" fmla="*/ 249897 h 879163"/>
              <a:gd name="connsiteX37" fmla="*/ 484796 w 972099"/>
              <a:gd name="connsiteY37" fmla="*/ 265213 h 879163"/>
              <a:gd name="connsiteX38" fmla="*/ 469480 w 972099"/>
              <a:gd name="connsiteY38" fmla="*/ 249897 h 879163"/>
              <a:gd name="connsiteX39" fmla="*/ 484796 w 972099"/>
              <a:gd name="connsiteY39" fmla="*/ 234581 h 879163"/>
              <a:gd name="connsiteX40" fmla="*/ 563278 w 972099"/>
              <a:gd name="connsiteY40" fmla="*/ 228236 h 879163"/>
              <a:gd name="connsiteX41" fmla="*/ 578594 w 972099"/>
              <a:gd name="connsiteY41" fmla="*/ 243552 h 879163"/>
              <a:gd name="connsiteX42" fmla="*/ 563278 w 972099"/>
              <a:gd name="connsiteY42" fmla="*/ 258868 h 879163"/>
              <a:gd name="connsiteX43" fmla="*/ 547962 w 972099"/>
              <a:gd name="connsiteY43" fmla="*/ 243552 h 879163"/>
              <a:gd name="connsiteX44" fmla="*/ 563278 w 972099"/>
              <a:gd name="connsiteY44" fmla="*/ 228236 h 879163"/>
              <a:gd name="connsiteX45" fmla="*/ 405213 w 972099"/>
              <a:gd name="connsiteY45" fmla="*/ 228236 h 879163"/>
              <a:gd name="connsiteX46" fmla="*/ 420529 w 972099"/>
              <a:gd name="connsiteY46" fmla="*/ 243552 h 879163"/>
              <a:gd name="connsiteX47" fmla="*/ 405213 w 972099"/>
              <a:gd name="connsiteY47" fmla="*/ 258868 h 879163"/>
              <a:gd name="connsiteX48" fmla="*/ 389897 w 972099"/>
              <a:gd name="connsiteY48" fmla="*/ 243552 h 879163"/>
              <a:gd name="connsiteX49" fmla="*/ 405213 w 972099"/>
              <a:gd name="connsiteY49" fmla="*/ 228236 h 879163"/>
              <a:gd name="connsiteX50" fmla="*/ 638699 w 972099"/>
              <a:gd name="connsiteY50" fmla="*/ 216201 h 879163"/>
              <a:gd name="connsiteX51" fmla="*/ 654015 w 972099"/>
              <a:gd name="connsiteY51" fmla="*/ 231517 h 879163"/>
              <a:gd name="connsiteX52" fmla="*/ 638699 w 972099"/>
              <a:gd name="connsiteY52" fmla="*/ 246833 h 879163"/>
              <a:gd name="connsiteX53" fmla="*/ 623383 w 972099"/>
              <a:gd name="connsiteY53" fmla="*/ 231517 h 879163"/>
              <a:gd name="connsiteX54" fmla="*/ 638699 w 972099"/>
              <a:gd name="connsiteY54" fmla="*/ 216201 h 879163"/>
              <a:gd name="connsiteX55" fmla="*/ 329135 w 972099"/>
              <a:gd name="connsiteY55" fmla="*/ 215330 h 879163"/>
              <a:gd name="connsiteX56" fmla="*/ 344451 w 972099"/>
              <a:gd name="connsiteY56" fmla="*/ 230646 h 879163"/>
              <a:gd name="connsiteX57" fmla="*/ 329135 w 972099"/>
              <a:gd name="connsiteY57" fmla="*/ 245962 h 879163"/>
              <a:gd name="connsiteX58" fmla="*/ 313819 w 972099"/>
              <a:gd name="connsiteY58" fmla="*/ 230646 h 879163"/>
              <a:gd name="connsiteX59" fmla="*/ 329135 w 972099"/>
              <a:gd name="connsiteY59" fmla="*/ 215330 h 879163"/>
              <a:gd name="connsiteX60" fmla="*/ 713466 w 972099"/>
              <a:gd name="connsiteY60" fmla="*/ 189263 h 879163"/>
              <a:gd name="connsiteX61" fmla="*/ 728782 w 972099"/>
              <a:gd name="connsiteY61" fmla="*/ 204579 h 879163"/>
              <a:gd name="connsiteX62" fmla="*/ 713466 w 972099"/>
              <a:gd name="connsiteY62" fmla="*/ 219895 h 879163"/>
              <a:gd name="connsiteX63" fmla="*/ 698150 w 972099"/>
              <a:gd name="connsiteY63" fmla="*/ 204579 h 879163"/>
              <a:gd name="connsiteX64" fmla="*/ 713466 w 972099"/>
              <a:gd name="connsiteY64" fmla="*/ 189263 h 879163"/>
              <a:gd name="connsiteX65" fmla="*/ 257024 w 972099"/>
              <a:gd name="connsiteY65" fmla="*/ 189263 h 879163"/>
              <a:gd name="connsiteX66" fmla="*/ 272340 w 972099"/>
              <a:gd name="connsiteY66" fmla="*/ 204579 h 879163"/>
              <a:gd name="connsiteX67" fmla="*/ 257024 w 972099"/>
              <a:gd name="connsiteY67" fmla="*/ 219895 h 879163"/>
              <a:gd name="connsiteX68" fmla="*/ 241708 w 972099"/>
              <a:gd name="connsiteY68" fmla="*/ 204579 h 879163"/>
              <a:gd name="connsiteX69" fmla="*/ 257024 w 972099"/>
              <a:gd name="connsiteY69" fmla="*/ 189263 h 879163"/>
              <a:gd name="connsiteX70" fmla="*/ 186849 w 972099"/>
              <a:gd name="connsiteY70" fmla="*/ 154666 h 879163"/>
              <a:gd name="connsiteX71" fmla="*/ 202165 w 972099"/>
              <a:gd name="connsiteY71" fmla="*/ 169982 h 879163"/>
              <a:gd name="connsiteX72" fmla="*/ 186849 w 972099"/>
              <a:gd name="connsiteY72" fmla="*/ 185298 h 879163"/>
              <a:gd name="connsiteX73" fmla="*/ 171533 w 972099"/>
              <a:gd name="connsiteY73" fmla="*/ 169982 h 879163"/>
              <a:gd name="connsiteX74" fmla="*/ 186849 w 972099"/>
              <a:gd name="connsiteY74" fmla="*/ 154666 h 879163"/>
              <a:gd name="connsiteX75" fmla="*/ 782985 w 972099"/>
              <a:gd name="connsiteY75" fmla="*/ 153848 h 879163"/>
              <a:gd name="connsiteX76" fmla="*/ 798301 w 972099"/>
              <a:gd name="connsiteY76" fmla="*/ 169164 h 879163"/>
              <a:gd name="connsiteX77" fmla="*/ 782985 w 972099"/>
              <a:gd name="connsiteY77" fmla="*/ 184480 h 879163"/>
              <a:gd name="connsiteX78" fmla="*/ 767669 w 972099"/>
              <a:gd name="connsiteY78" fmla="*/ 169164 h 879163"/>
              <a:gd name="connsiteX79" fmla="*/ 782985 w 972099"/>
              <a:gd name="connsiteY79" fmla="*/ 153848 h 879163"/>
              <a:gd name="connsiteX80" fmla="*/ 121921 w 972099"/>
              <a:gd name="connsiteY80" fmla="*/ 109251 h 879163"/>
              <a:gd name="connsiteX81" fmla="*/ 137237 w 972099"/>
              <a:gd name="connsiteY81" fmla="*/ 124567 h 879163"/>
              <a:gd name="connsiteX82" fmla="*/ 121921 w 972099"/>
              <a:gd name="connsiteY82" fmla="*/ 139883 h 879163"/>
              <a:gd name="connsiteX83" fmla="*/ 106605 w 972099"/>
              <a:gd name="connsiteY83" fmla="*/ 124567 h 879163"/>
              <a:gd name="connsiteX84" fmla="*/ 121921 w 972099"/>
              <a:gd name="connsiteY84" fmla="*/ 109251 h 879163"/>
              <a:gd name="connsiteX85" fmla="*/ 846601 w 972099"/>
              <a:gd name="connsiteY85" fmla="*/ 109088 h 879163"/>
              <a:gd name="connsiteX86" fmla="*/ 861917 w 972099"/>
              <a:gd name="connsiteY86" fmla="*/ 124404 h 879163"/>
              <a:gd name="connsiteX87" fmla="*/ 846601 w 972099"/>
              <a:gd name="connsiteY87" fmla="*/ 139720 h 879163"/>
              <a:gd name="connsiteX88" fmla="*/ 831285 w 972099"/>
              <a:gd name="connsiteY88" fmla="*/ 124404 h 879163"/>
              <a:gd name="connsiteX89" fmla="*/ 846601 w 972099"/>
              <a:gd name="connsiteY89" fmla="*/ 109088 h 879163"/>
              <a:gd name="connsiteX90" fmla="*/ 905627 w 972099"/>
              <a:gd name="connsiteY90" fmla="*/ 58370 h 879163"/>
              <a:gd name="connsiteX91" fmla="*/ 920943 w 972099"/>
              <a:gd name="connsiteY91" fmla="*/ 73686 h 879163"/>
              <a:gd name="connsiteX92" fmla="*/ 905627 w 972099"/>
              <a:gd name="connsiteY92" fmla="*/ 89002 h 879163"/>
              <a:gd name="connsiteX93" fmla="*/ 890311 w 972099"/>
              <a:gd name="connsiteY93" fmla="*/ 73686 h 879163"/>
              <a:gd name="connsiteX94" fmla="*/ 905627 w 972099"/>
              <a:gd name="connsiteY94" fmla="*/ 58370 h 879163"/>
              <a:gd name="connsiteX95" fmla="*/ 65518 w 972099"/>
              <a:gd name="connsiteY95" fmla="*/ 58370 h 879163"/>
              <a:gd name="connsiteX96" fmla="*/ 80834 w 972099"/>
              <a:gd name="connsiteY96" fmla="*/ 73686 h 879163"/>
              <a:gd name="connsiteX97" fmla="*/ 65518 w 972099"/>
              <a:gd name="connsiteY97" fmla="*/ 89002 h 879163"/>
              <a:gd name="connsiteX98" fmla="*/ 50202 w 972099"/>
              <a:gd name="connsiteY98" fmla="*/ 73686 h 879163"/>
              <a:gd name="connsiteX99" fmla="*/ 65518 w 972099"/>
              <a:gd name="connsiteY99" fmla="*/ 58370 h 879163"/>
              <a:gd name="connsiteX100" fmla="*/ 15316 w 972099"/>
              <a:gd name="connsiteY100" fmla="*/ 437 h 879163"/>
              <a:gd name="connsiteX101" fmla="*/ 30632 w 972099"/>
              <a:gd name="connsiteY101" fmla="*/ 15753 h 879163"/>
              <a:gd name="connsiteX102" fmla="*/ 15316 w 972099"/>
              <a:gd name="connsiteY102" fmla="*/ 31069 h 879163"/>
              <a:gd name="connsiteX103" fmla="*/ 0 w 972099"/>
              <a:gd name="connsiteY103" fmla="*/ 15753 h 879163"/>
              <a:gd name="connsiteX104" fmla="*/ 15316 w 972099"/>
              <a:gd name="connsiteY104" fmla="*/ 437 h 879163"/>
              <a:gd name="connsiteX105" fmla="*/ 956783 w 972099"/>
              <a:gd name="connsiteY105" fmla="*/ 0 h 879163"/>
              <a:gd name="connsiteX106" fmla="*/ 972099 w 972099"/>
              <a:gd name="connsiteY106" fmla="*/ 15316 h 879163"/>
              <a:gd name="connsiteX107" fmla="*/ 956783 w 972099"/>
              <a:gd name="connsiteY107" fmla="*/ 30632 h 879163"/>
              <a:gd name="connsiteX108" fmla="*/ 941467 w 972099"/>
              <a:gd name="connsiteY108" fmla="*/ 15316 h 879163"/>
              <a:gd name="connsiteX109" fmla="*/ 956783 w 972099"/>
              <a:gd name="connsiteY109" fmla="*/ 0 h 879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972099" h="879163">
                <a:moveTo>
                  <a:pt x="484796" y="790649"/>
                </a:moveTo>
                <a:cubicBezTo>
                  <a:pt x="509240" y="790649"/>
                  <a:pt x="529055" y="810464"/>
                  <a:pt x="529055" y="834906"/>
                </a:cubicBezTo>
                <a:cubicBezTo>
                  <a:pt x="529055" y="859348"/>
                  <a:pt x="509240" y="879163"/>
                  <a:pt x="484796" y="879163"/>
                </a:cubicBezTo>
                <a:cubicBezTo>
                  <a:pt x="460352" y="879163"/>
                  <a:pt x="440537" y="859348"/>
                  <a:pt x="440537" y="834906"/>
                </a:cubicBezTo>
                <a:cubicBezTo>
                  <a:pt x="440537" y="810464"/>
                  <a:pt x="460352" y="790649"/>
                  <a:pt x="484796" y="790649"/>
                </a:cubicBezTo>
                <a:close/>
                <a:moveTo>
                  <a:pt x="484796" y="708099"/>
                </a:moveTo>
                <a:cubicBezTo>
                  <a:pt x="493255" y="708099"/>
                  <a:pt x="500112" y="714956"/>
                  <a:pt x="500112" y="723415"/>
                </a:cubicBezTo>
                <a:cubicBezTo>
                  <a:pt x="500112" y="731874"/>
                  <a:pt x="493255" y="738731"/>
                  <a:pt x="484796" y="738731"/>
                </a:cubicBezTo>
                <a:cubicBezTo>
                  <a:pt x="476337" y="738731"/>
                  <a:pt x="469480" y="731874"/>
                  <a:pt x="469480" y="723415"/>
                </a:cubicBezTo>
                <a:cubicBezTo>
                  <a:pt x="469480" y="714956"/>
                  <a:pt x="476337" y="708099"/>
                  <a:pt x="484796" y="708099"/>
                </a:cubicBezTo>
                <a:close/>
                <a:moveTo>
                  <a:pt x="484796" y="629179"/>
                </a:moveTo>
                <a:cubicBezTo>
                  <a:pt x="493255" y="629179"/>
                  <a:pt x="500112" y="636036"/>
                  <a:pt x="500112" y="644495"/>
                </a:cubicBezTo>
                <a:cubicBezTo>
                  <a:pt x="500112" y="652954"/>
                  <a:pt x="493255" y="659811"/>
                  <a:pt x="484796" y="659811"/>
                </a:cubicBezTo>
                <a:cubicBezTo>
                  <a:pt x="476337" y="659811"/>
                  <a:pt x="469480" y="652954"/>
                  <a:pt x="469480" y="644495"/>
                </a:cubicBezTo>
                <a:cubicBezTo>
                  <a:pt x="469480" y="636036"/>
                  <a:pt x="476337" y="629179"/>
                  <a:pt x="484796" y="629179"/>
                </a:cubicBezTo>
                <a:close/>
                <a:moveTo>
                  <a:pt x="484796" y="550259"/>
                </a:moveTo>
                <a:cubicBezTo>
                  <a:pt x="493255" y="550259"/>
                  <a:pt x="500112" y="557116"/>
                  <a:pt x="500112" y="565575"/>
                </a:cubicBezTo>
                <a:cubicBezTo>
                  <a:pt x="500112" y="574034"/>
                  <a:pt x="493255" y="580891"/>
                  <a:pt x="484796" y="580891"/>
                </a:cubicBezTo>
                <a:cubicBezTo>
                  <a:pt x="476337" y="580891"/>
                  <a:pt x="469480" y="574034"/>
                  <a:pt x="469480" y="565575"/>
                </a:cubicBezTo>
                <a:cubicBezTo>
                  <a:pt x="469480" y="557116"/>
                  <a:pt x="476337" y="550259"/>
                  <a:pt x="484796" y="550259"/>
                </a:cubicBezTo>
                <a:close/>
                <a:moveTo>
                  <a:pt x="484796" y="471340"/>
                </a:moveTo>
                <a:cubicBezTo>
                  <a:pt x="493255" y="471340"/>
                  <a:pt x="500112" y="478197"/>
                  <a:pt x="500112" y="486656"/>
                </a:cubicBezTo>
                <a:cubicBezTo>
                  <a:pt x="500112" y="495115"/>
                  <a:pt x="493255" y="501972"/>
                  <a:pt x="484796" y="501972"/>
                </a:cubicBezTo>
                <a:cubicBezTo>
                  <a:pt x="476337" y="501972"/>
                  <a:pt x="469480" y="495115"/>
                  <a:pt x="469480" y="486656"/>
                </a:cubicBezTo>
                <a:cubicBezTo>
                  <a:pt x="469480" y="478197"/>
                  <a:pt x="476337" y="471340"/>
                  <a:pt x="484796" y="471340"/>
                </a:cubicBezTo>
                <a:close/>
                <a:moveTo>
                  <a:pt x="484796" y="392421"/>
                </a:moveTo>
                <a:cubicBezTo>
                  <a:pt x="493255" y="392421"/>
                  <a:pt x="500112" y="399278"/>
                  <a:pt x="500112" y="407737"/>
                </a:cubicBezTo>
                <a:cubicBezTo>
                  <a:pt x="500112" y="416196"/>
                  <a:pt x="493255" y="423053"/>
                  <a:pt x="484796" y="423053"/>
                </a:cubicBezTo>
                <a:cubicBezTo>
                  <a:pt x="476337" y="423053"/>
                  <a:pt x="469480" y="416196"/>
                  <a:pt x="469480" y="407737"/>
                </a:cubicBezTo>
                <a:cubicBezTo>
                  <a:pt x="469480" y="399278"/>
                  <a:pt x="476337" y="392421"/>
                  <a:pt x="484796" y="392421"/>
                </a:cubicBezTo>
                <a:close/>
                <a:moveTo>
                  <a:pt x="484796" y="313501"/>
                </a:moveTo>
                <a:cubicBezTo>
                  <a:pt x="493255" y="313501"/>
                  <a:pt x="500112" y="320358"/>
                  <a:pt x="500112" y="328817"/>
                </a:cubicBezTo>
                <a:cubicBezTo>
                  <a:pt x="500112" y="337276"/>
                  <a:pt x="493255" y="344133"/>
                  <a:pt x="484796" y="344133"/>
                </a:cubicBezTo>
                <a:cubicBezTo>
                  <a:pt x="476337" y="344133"/>
                  <a:pt x="469480" y="337276"/>
                  <a:pt x="469480" y="328817"/>
                </a:cubicBezTo>
                <a:cubicBezTo>
                  <a:pt x="469480" y="320358"/>
                  <a:pt x="476337" y="313501"/>
                  <a:pt x="484796" y="313501"/>
                </a:cubicBezTo>
                <a:close/>
                <a:moveTo>
                  <a:pt x="484796" y="234581"/>
                </a:moveTo>
                <a:cubicBezTo>
                  <a:pt x="493255" y="234581"/>
                  <a:pt x="500112" y="241438"/>
                  <a:pt x="500112" y="249897"/>
                </a:cubicBezTo>
                <a:cubicBezTo>
                  <a:pt x="500112" y="258356"/>
                  <a:pt x="493255" y="265213"/>
                  <a:pt x="484796" y="265213"/>
                </a:cubicBezTo>
                <a:cubicBezTo>
                  <a:pt x="476337" y="265213"/>
                  <a:pt x="469480" y="258356"/>
                  <a:pt x="469480" y="249897"/>
                </a:cubicBezTo>
                <a:cubicBezTo>
                  <a:pt x="469480" y="241438"/>
                  <a:pt x="476337" y="234581"/>
                  <a:pt x="484796" y="234581"/>
                </a:cubicBezTo>
                <a:close/>
                <a:moveTo>
                  <a:pt x="563278" y="228236"/>
                </a:moveTo>
                <a:cubicBezTo>
                  <a:pt x="571737" y="228236"/>
                  <a:pt x="578594" y="235093"/>
                  <a:pt x="578594" y="243552"/>
                </a:cubicBezTo>
                <a:cubicBezTo>
                  <a:pt x="578594" y="252011"/>
                  <a:pt x="571737" y="258868"/>
                  <a:pt x="563278" y="258868"/>
                </a:cubicBezTo>
                <a:cubicBezTo>
                  <a:pt x="554819" y="258868"/>
                  <a:pt x="547962" y="252011"/>
                  <a:pt x="547962" y="243552"/>
                </a:cubicBezTo>
                <a:cubicBezTo>
                  <a:pt x="547962" y="235093"/>
                  <a:pt x="554819" y="228236"/>
                  <a:pt x="563278" y="228236"/>
                </a:cubicBezTo>
                <a:close/>
                <a:moveTo>
                  <a:pt x="405213" y="228236"/>
                </a:moveTo>
                <a:cubicBezTo>
                  <a:pt x="413672" y="228236"/>
                  <a:pt x="420529" y="235093"/>
                  <a:pt x="420529" y="243552"/>
                </a:cubicBezTo>
                <a:cubicBezTo>
                  <a:pt x="420529" y="252011"/>
                  <a:pt x="413672" y="258868"/>
                  <a:pt x="405213" y="258868"/>
                </a:cubicBezTo>
                <a:cubicBezTo>
                  <a:pt x="396754" y="258868"/>
                  <a:pt x="389897" y="252011"/>
                  <a:pt x="389897" y="243552"/>
                </a:cubicBezTo>
                <a:cubicBezTo>
                  <a:pt x="389897" y="235093"/>
                  <a:pt x="396754" y="228236"/>
                  <a:pt x="405213" y="228236"/>
                </a:cubicBezTo>
                <a:close/>
                <a:moveTo>
                  <a:pt x="638699" y="216201"/>
                </a:moveTo>
                <a:cubicBezTo>
                  <a:pt x="647158" y="216201"/>
                  <a:pt x="654015" y="223058"/>
                  <a:pt x="654015" y="231517"/>
                </a:cubicBezTo>
                <a:cubicBezTo>
                  <a:pt x="654015" y="239976"/>
                  <a:pt x="647158" y="246833"/>
                  <a:pt x="638699" y="246833"/>
                </a:cubicBezTo>
                <a:cubicBezTo>
                  <a:pt x="630240" y="246833"/>
                  <a:pt x="623383" y="239976"/>
                  <a:pt x="623383" y="231517"/>
                </a:cubicBezTo>
                <a:cubicBezTo>
                  <a:pt x="623383" y="223058"/>
                  <a:pt x="630240" y="216201"/>
                  <a:pt x="638699" y="216201"/>
                </a:cubicBezTo>
                <a:close/>
                <a:moveTo>
                  <a:pt x="329135" y="215330"/>
                </a:moveTo>
                <a:cubicBezTo>
                  <a:pt x="337594" y="215330"/>
                  <a:pt x="344451" y="222187"/>
                  <a:pt x="344451" y="230646"/>
                </a:cubicBezTo>
                <a:cubicBezTo>
                  <a:pt x="344451" y="239105"/>
                  <a:pt x="337594" y="245962"/>
                  <a:pt x="329135" y="245962"/>
                </a:cubicBezTo>
                <a:cubicBezTo>
                  <a:pt x="320676" y="245962"/>
                  <a:pt x="313819" y="239105"/>
                  <a:pt x="313819" y="230646"/>
                </a:cubicBezTo>
                <a:cubicBezTo>
                  <a:pt x="313819" y="222187"/>
                  <a:pt x="320676" y="215330"/>
                  <a:pt x="329135" y="215330"/>
                </a:cubicBezTo>
                <a:close/>
                <a:moveTo>
                  <a:pt x="713466" y="189263"/>
                </a:moveTo>
                <a:cubicBezTo>
                  <a:pt x="721925" y="189263"/>
                  <a:pt x="728782" y="196120"/>
                  <a:pt x="728782" y="204579"/>
                </a:cubicBezTo>
                <a:cubicBezTo>
                  <a:pt x="728782" y="213038"/>
                  <a:pt x="721925" y="219895"/>
                  <a:pt x="713466" y="219895"/>
                </a:cubicBezTo>
                <a:cubicBezTo>
                  <a:pt x="705007" y="219895"/>
                  <a:pt x="698150" y="213038"/>
                  <a:pt x="698150" y="204579"/>
                </a:cubicBezTo>
                <a:cubicBezTo>
                  <a:pt x="698150" y="196120"/>
                  <a:pt x="705007" y="189263"/>
                  <a:pt x="713466" y="189263"/>
                </a:cubicBezTo>
                <a:close/>
                <a:moveTo>
                  <a:pt x="257024" y="189263"/>
                </a:moveTo>
                <a:cubicBezTo>
                  <a:pt x="265483" y="189263"/>
                  <a:pt x="272340" y="196120"/>
                  <a:pt x="272340" y="204579"/>
                </a:cubicBezTo>
                <a:cubicBezTo>
                  <a:pt x="272340" y="213038"/>
                  <a:pt x="265483" y="219895"/>
                  <a:pt x="257024" y="219895"/>
                </a:cubicBezTo>
                <a:cubicBezTo>
                  <a:pt x="248565" y="219895"/>
                  <a:pt x="241708" y="213038"/>
                  <a:pt x="241708" y="204579"/>
                </a:cubicBezTo>
                <a:cubicBezTo>
                  <a:pt x="241708" y="196120"/>
                  <a:pt x="248565" y="189263"/>
                  <a:pt x="257024" y="189263"/>
                </a:cubicBezTo>
                <a:close/>
                <a:moveTo>
                  <a:pt x="186849" y="154666"/>
                </a:moveTo>
                <a:cubicBezTo>
                  <a:pt x="195308" y="154666"/>
                  <a:pt x="202165" y="161523"/>
                  <a:pt x="202165" y="169982"/>
                </a:cubicBezTo>
                <a:cubicBezTo>
                  <a:pt x="202165" y="178441"/>
                  <a:pt x="195308" y="185298"/>
                  <a:pt x="186849" y="185298"/>
                </a:cubicBezTo>
                <a:cubicBezTo>
                  <a:pt x="178390" y="185298"/>
                  <a:pt x="171533" y="178441"/>
                  <a:pt x="171533" y="169982"/>
                </a:cubicBezTo>
                <a:cubicBezTo>
                  <a:pt x="171533" y="161523"/>
                  <a:pt x="178390" y="154666"/>
                  <a:pt x="186849" y="154666"/>
                </a:cubicBezTo>
                <a:close/>
                <a:moveTo>
                  <a:pt x="782985" y="153848"/>
                </a:moveTo>
                <a:cubicBezTo>
                  <a:pt x="791444" y="153848"/>
                  <a:pt x="798301" y="160705"/>
                  <a:pt x="798301" y="169164"/>
                </a:cubicBezTo>
                <a:cubicBezTo>
                  <a:pt x="798301" y="177623"/>
                  <a:pt x="791444" y="184480"/>
                  <a:pt x="782985" y="184480"/>
                </a:cubicBezTo>
                <a:cubicBezTo>
                  <a:pt x="774526" y="184480"/>
                  <a:pt x="767669" y="177623"/>
                  <a:pt x="767669" y="169164"/>
                </a:cubicBezTo>
                <a:cubicBezTo>
                  <a:pt x="767669" y="160705"/>
                  <a:pt x="774526" y="153848"/>
                  <a:pt x="782985" y="153848"/>
                </a:cubicBezTo>
                <a:close/>
                <a:moveTo>
                  <a:pt x="121921" y="109251"/>
                </a:moveTo>
                <a:cubicBezTo>
                  <a:pt x="130380" y="109251"/>
                  <a:pt x="137237" y="116108"/>
                  <a:pt x="137237" y="124567"/>
                </a:cubicBezTo>
                <a:cubicBezTo>
                  <a:pt x="137237" y="133026"/>
                  <a:pt x="130380" y="139883"/>
                  <a:pt x="121921" y="139883"/>
                </a:cubicBezTo>
                <a:cubicBezTo>
                  <a:pt x="113462" y="139883"/>
                  <a:pt x="106605" y="133026"/>
                  <a:pt x="106605" y="124567"/>
                </a:cubicBezTo>
                <a:cubicBezTo>
                  <a:pt x="106605" y="116108"/>
                  <a:pt x="113462" y="109251"/>
                  <a:pt x="121921" y="109251"/>
                </a:cubicBezTo>
                <a:close/>
                <a:moveTo>
                  <a:pt x="846601" y="109088"/>
                </a:moveTo>
                <a:cubicBezTo>
                  <a:pt x="855060" y="109088"/>
                  <a:pt x="861917" y="115945"/>
                  <a:pt x="861917" y="124404"/>
                </a:cubicBezTo>
                <a:cubicBezTo>
                  <a:pt x="861917" y="132863"/>
                  <a:pt x="855060" y="139720"/>
                  <a:pt x="846601" y="139720"/>
                </a:cubicBezTo>
                <a:cubicBezTo>
                  <a:pt x="838142" y="139720"/>
                  <a:pt x="831285" y="132863"/>
                  <a:pt x="831285" y="124404"/>
                </a:cubicBezTo>
                <a:cubicBezTo>
                  <a:pt x="831285" y="115945"/>
                  <a:pt x="838142" y="109088"/>
                  <a:pt x="846601" y="109088"/>
                </a:cubicBezTo>
                <a:close/>
                <a:moveTo>
                  <a:pt x="905627" y="58370"/>
                </a:moveTo>
                <a:cubicBezTo>
                  <a:pt x="914086" y="58370"/>
                  <a:pt x="920943" y="65227"/>
                  <a:pt x="920943" y="73686"/>
                </a:cubicBezTo>
                <a:cubicBezTo>
                  <a:pt x="920943" y="82145"/>
                  <a:pt x="914086" y="89002"/>
                  <a:pt x="905627" y="89002"/>
                </a:cubicBezTo>
                <a:cubicBezTo>
                  <a:pt x="897168" y="89002"/>
                  <a:pt x="890311" y="82145"/>
                  <a:pt x="890311" y="73686"/>
                </a:cubicBezTo>
                <a:cubicBezTo>
                  <a:pt x="890311" y="65227"/>
                  <a:pt x="897168" y="58370"/>
                  <a:pt x="905627" y="58370"/>
                </a:cubicBezTo>
                <a:close/>
                <a:moveTo>
                  <a:pt x="65518" y="58370"/>
                </a:moveTo>
                <a:cubicBezTo>
                  <a:pt x="73977" y="58370"/>
                  <a:pt x="80834" y="65227"/>
                  <a:pt x="80834" y="73686"/>
                </a:cubicBezTo>
                <a:cubicBezTo>
                  <a:pt x="80834" y="82145"/>
                  <a:pt x="73977" y="89002"/>
                  <a:pt x="65518" y="89002"/>
                </a:cubicBezTo>
                <a:cubicBezTo>
                  <a:pt x="57059" y="89002"/>
                  <a:pt x="50202" y="82145"/>
                  <a:pt x="50202" y="73686"/>
                </a:cubicBezTo>
                <a:cubicBezTo>
                  <a:pt x="50202" y="65227"/>
                  <a:pt x="57059" y="58370"/>
                  <a:pt x="65518" y="58370"/>
                </a:cubicBezTo>
                <a:close/>
                <a:moveTo>
                  <a:pt x="15316" y="437"/>
                </a:moveTo>
                <a:cubicBezTo>
                  <a:pt x="23775" y="437"/>
                  <a:pt x="30632" y="7294"/>
                  <a:pt x="30632" y="15753"/>
                </a:cubicBezTo>
                <a:cubicBezTo>
                  <a:pt x="30632" y="24212"/>
                  <a:pt x="23775" y="31069"/>
                  <a:pt x="15316" y="31069"/>
                </a:cubicBezTo>
                <a:cubicBezTo>
                  <a:pt x="6857" y="31069"/>
                  <a:pt x="0" y="24212"/>
                  <a:pt x="0" y="15753"/>
                </a:cubicBezTo>
                <a:cubicBezTo>
                  <a:pt x="0" y="7294"/>
                  <a:pt x="6857" y="437"/>
                  <a:pt x="15316" y="437"/>
                </a:cubicBezTo>
                <a:close/>
                <a:moveTo>
                  <a:pt x="956783" y="0"/>
                </a:moveTo>
                <a:cubicBezTo>
                  <a:pt x="965242" y="0"/>
                  <a:pt x="972099" y="6857"/>
                  <a:pt x="972099" y="15316"/>
                </a:cubicBezTo>
                <a:cubicBezTo>
                  <a:pt x="972099" y="23775"/>
                  <a:pt x="965242" y="30632"/>
                  <a:pt x="956783" y="30632"/>
                </a:cubicBezTo>
                <a:cubicBezTo>
                  <a:pt x="948324" y="30632"/>
                  <a:pt x="941467" y="23775"/>
                  <a:pt x="941467" y="15316"/>
                </a:cubicBezTo>
                <a:cubicBezTo>
                  <a:pt x="941467" y="6857"/>
                  <a:pt x="948324" y="0"/>
                  <a:pt x="956783" y="0"/>
                </a:cubicBezTo>
                <a:close/>
              </a:path>
            </a:pathLst>
          </a:custGeom>
          <a:solidFill>
            <a:srgbClr val="C16322"/>
          </a:solidFill>
          <a:ln w="12700" cap="flat" cmpd="sng" algn="ctr">
            <a:solidFill>
              <a:srgbClr val="C1632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sz="2133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Donut 105"/>
          <p:cNvSpPr/>
          <p:nvPr/>
        </p:nvSpPr>
        <p:spPr>
          <a:xfrm>
            <a:off x="3549815" y="1198697"/>
            <a:ext cx="5092371" cy="5092363"/>
          </a:xfrm>
          <a:prstGeom prst="donut">
            <a:avLst>
              <a:gd name="adj" fmla="val 2965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2"/>
          <p:cNvSpPr/>
          <p:nvPr/>
        </p:nvSpPr>
        <p:spPr>
          <a:xfrm>
            <a:off x="6031643" y="1480837"/>
            <a:ext cx="2202939" cy="2108056"/>
          </a:xfrm>
          <a:custGeom>
            <a:avLst/>
            <a:gdLst>
              <a:gd name="connsiteX0" fmla="*/ 50778 w 2287777"/>
              <a:gd name="connsiteY0" fmla="*/ 0 h 2212171"/>
              <a:gd name="connsiteX1" fmla="*/ 2287777 w 2287777"/>
              <a:gd name="connsiteY1" fmla="*/ 1638242 h 2212171"/>
              <a:gd name="connsiteX2" fmla="*/ 1805186 w 2287777"/>
              <a:gd name="connsiteY2" fmla="*/ 1789029 h 2212171"/>
              <a:gd name="connsiteX3" fmla="*/ 1849313 w 2287777"/>
              <a:gd name="connsiteY3" fmla="*/ 1986538 h 2212171"/>
              <a:gd name="connsiteX4" fmla="*/ 1848861 w 2287777"/>
              <a:gd name="connsiteY4" fmla="*/ 1986675 h 2212171"/>
              <a:gd name="connsiteX5" fmla="*/ 1868439 w 2287777"/>
              <a:gd name="connsiteY5" fmla="*/ 2020256 h 2212171"/>
              <a:gd name="connsiteX6" fmla="*/ 1729464 w 2287777"/>
              <a:gd name="connsiteY6" fmla="*/ 2200644 h 2212171"/>
              <a:gd name="connsiteX7" fmla="*/ 1512955 w 2287777"/>
              <a:gd name="connsiteY7" fmla="*/ 2130092 h 2212171"/>
              <a:gd name="connsiteX8" fmla="*/ 1510433 w 2287777"/>
              <a:gd name="connsiteY8" fmla="*/ 2089098 h 2212171"/>
              <a:gd name="connsiteX9" fmla="*/ 1510043 w 2287777"/>
              <a:gd name="connsiteY9" fmla="*/ 2089216 h 2212171"/>
              <a:gd name="connsiteX10" fmla="*/ 1510763 w 2287777"/>
              <a:gd name="connsiteY10" fmla="*/ 2086231 h 2212171"/>
              <a:gd name="connsiteX11" fmla="*/ 1515170 w 2287777"/>
              <a:gd name="connsiteY11" fmla="*/ 2067960 h 2212171"/>
              <a:gd name="connsiteX12" fmla="*/ 1434648 w 2287777"/>
              <a:gd name="connsiteY12" fmla="*/ 1904805 h 2212171"/>
              <a:gd name="connsiteX13" fmla="*/ 1039417 w 2287777"/>
              <a:gd name="connsiteY13" fmla="*/ 2028296 h 2212171"/>
              <a:gd name="connsiteX14" fmla="*/ 50778 w 2287777"/>
              <a:gd name="connsiteY14" fmla="*/ 1307617 h 2212171"/>
              <a:gd name="connsiteX15" fmla="*/ 50778 w 2287777"/>
              <a:gd name="connsiteY15" fmla="*/ 874944 h 2212171"/>
              <a:gd name="connsiteX16" fmla="*/ 226329 w 2287777"/>
              <a:gd name="connsiteY16" fmla="*/ 853705 h 2212171"/>
              <a:gd name="connsiteX17" fmla="*/ 242485 w 2287777"/>
              <a:gd name="connsiteY17" fmla="*/ 863309 h 2212171"/>
              <a:gd name="connsiteX18" fmla="*/ 245125 w 2287777"/>
              <a:gd name="connsiteY18" fmla="*/ 864878 h 2212171"/>
              <a:gd name="connsiteX19" fmla="*/ 245127 w 2287777"/>
              <a:gd name="connsiteY19" fmla="*/ 864470 h 2212171"/>
              <a:gd name="connsiteX20" fmla="*/ 285038 w 2287777"/>
              <a:gd name="connsiteY20" fmla="*/ 874162 h 2212171"/>
              <a:gd name="connsiteX21" fmla="*/ 416361 w 2287777"/>
              <a:gd name="connsiteY21" fmla="*/ 688130 h 2212171"/>
              <a:gd name="connsiteX22" fmla="*/ 285038 w 2287777"/>
              <a:gd name="connsiteY22" fmla="*/ 502097 h 2212171"/>
              <a:gd name="connsiteX23" fmla="*/ 247174 w 2287777"/>
              <a:gd name="connsiteY23" fmla="*/ 510889 h 2212171"/>
              <a:gd name="connsiteX24" fmla="*/ 247177 w 2287777"/>
              <a:gd name="connsiteY24" fmla="*/ 510417 h 2212171"/>
              <a:gd name="connsiteX25" fmla="*/ 50778 w 2287777"/>
              <a:gd name="connsiteY25" fmla="*/ 502868 h 2212171"/>
              <a:gd name="connsiteX26" fmla="*/ 50778 w 2287777"/>
              <a:gd name="connsiteY26" fmla="*/ 0 h 2212171"/>
              <a:gd name="connsiteX0" fmla="*/ 50778 w 2287777"/>
              <a:gd name="connsiteY0" fmla="*/ 0 h 2212171"/>
              <a:gd name="connsiteX1" fmla="*/ 2287777 w 2287777"/>
              <a:gd name="connsiteY1" fmla="*/ 1638242 h 2212171"/>
              <a:gd name="connsiteX2" fmla="*/ 1805186 w 2287777"/>
              <a:gd name="connsiteY2" fmla="*/ 1789029 h 2212171"/>
              <a:gd name="connsiteX3" fmla="*/ 1849313 w 2287777"/>
              <a:gd name="connsiteY3" fmla="*/ 1986538 h 2212171"/>
              <a:gd name="connsiteX4" fmla="*/ 1848861 w 2287777"/>
              <a:gd name="connsiteY4" fmla="*/ 1986675 h 2212171"/>
              <a:gd name="connsiteX5" fmla="*/ 1868439 w 2287777"/>
              <a:gd name="connsiteY5" fmla="*/ 2020256 h 2212171"/>
              <a:gd name="connsiteX6" fmla="*/ 1729464 w 2287777"/>
              <a:gd name="connsiteY6" fmla="*/ 2200644 h 2212171"/>
              <a:gd name="connsiteX7" fmla="*/ 1512955 w 2287777"/>
              <a:gd name="connsiteY7" fmla="*/ 2130092 h 2212171"/>
              <a:gd name="connsiteX8" fmla="*/ 1510433 w 2287777"/>
              <a:gd name="connsiteY8" fmla="*/ 2089098 h 2212171"/>
              <a:gd name="connsiteX9" fmla="*/ 1510043 w 2287777"/>
              <a:gd name="connsiteY9" fmla="*/ 2089216 h 2212171"/>
              <a:gd name="connsiteX10" fmla="*/ 1510763 w 2287777"/>
              <a:gd name="connsiteY10" fmla="*/ 2086231 h 2212171"/>
              <a:gd name="connsiteX11" fmla="*/ 1515170 w 2287777"/>
              <a:gd name="connsiteY11" fmla="*/ 2067960 h 2212171"/>
              <a:gd name="connsiteX12" fmla="*/ 1434648 w 2287777"/>
              <a:gd name="connsiteY12" fmla="*/ 1904805 h 2212171"/>
              <a:gd name="connsiteX13" fmla="*/ 1039417 w 2287777"/>
              <a:gd name="connsiteY13" fmla="*/ 2028296 h 2212171"/>
              <a:gd name="connsiteX14" fmla="*/ 50778 w 2287777"/>
              <a:gd name="connsiteY14" fmla="*/ 1307617 h 2212171"/>
              <a:gd name="connsiteX15" fmla="*/ 50778 w 2287777"/>
              <a:gd name="connsiteY15" fmla="*/ 874944 h 2212171"/>
              <a:gd name="connsiteX16" fmla="*/ 226329 w 2287777"/>
              <a:gd name="connsiteY16" fmla="*/ 853705 h 2212171"/>
              <a:gd name="connsiteX17" fmla="*/ 242485 w 2287777"/>
              <a:gd name="connsiteY17" fmla="*/ 863309 h 2212171"/>
              <a:gd name="connsiteX18" fmla="*/ 245125 w 2287777"/>
              <a:gd name="connsiteY18" fmla="*/ 864878 h 2212171"/>
              <a:gd name="connsiteX19" fmla="*/ 245127 w 2287777"/>
              <a:gd name="connsiteY19" fmla="*/ 864470 h 2212171"/>
              <a:gd name="connsiteX20" fmla="*/ 285038 w 2287777"/>
              <a:gd name="connsiteY20" fmla="*/ 874162 h 2212171"/>
              <a:gd name="connsiteX21" fmla="*/ 416361 w 2287777"/>
              <a:gd name="connsiteY21" fmla="*/ 688130 h 2212171"/>
              <a:gd name="connsiteX22" fmla="*/ 285038 w 2287777"/>
              <a:gd name="connsiteY22" fmla="*/ 502097 h 2212171"/>
              <a:gd name="connsiteX23" fmla="*/ 247174 w 2287777"/>
              <a:gd name="connsiteY23" fmla="*/ 510889 h 2212171"/>
              <a:gd name="connsiteX24" fmla="*/ 247177 w 2287777"/>
              <a:gd name="connsiteY24" fmla="*/ 510417 h 2212171"/>
              <a:gd name="connsiteX25" fmla="*/ 50778 w 2287777"/>
              <a:gd name="connsiteY25" fmla="*/ 502868 h 2212171"/>
              <a:gd name="connsiteX26" fmla="*/ 50778 w 2287777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57696 w 2294695"/>
              <a:gd name="connsiteY0" fmla="*/ 0 h 2212171"/>
              <a:gd name="connsiteX1" fmla="*/ 2294695 w 2294695"/>
              <a:gd name="connsiteY1" fmla="*/ 1638242 h 2212171"/>
              <a:gd name="connsiteX2" fmla="*/ 1812104 w 2294695"/>
              <a:gd name="connsiteY2" fmla="*/ 1789029 h 2212171"/>
              <a:gd name="connsiteX3" fmla="*/ 1856231 w 2294695"/>
              <a:gd name="connsiteY3" fmla="*/ 1986538 h 2212171"/>
              <a:gd name="connsiteX4" fmla="*/ 1855779 w 2294695"/>
              <a:gd name="connsiteY4" fmla="*/ 1986675 h 2212171"/>
              <a:gd name="connsiteX5" fmla="*/ 1875357 w 2294695"/>
              <a:gd name="connsiteY5" fmla="*/ 2020256 h 2212171"/>
              <a:gd name="connsiteX6" fmla="*/ 1736382 w 2294695"/>
              <a:gd name="connsiteY6" fmla="*/ 2200644 h 2212171"/>
              <a:gd name="connsiteX7" fmla="*/ 1519873 w 2294695"/>
              <a:gd name="connsiteY7" fmla="*/ 2130092 h 2212171"/>
              <a:gd name="connsiteX8" fmla="*/ 1517351 w 2294695"/>
              <a:gd name="connsiteY8" fmla="*/ 2089098 h 2212171"/>
              <a:gd name="connsiteX9" fmla="*/ 1516961 w 2294695"/>
              <a:gd name="connsiteY9" fmla="*/ 2089216 h 2212171"/>
              <a:gd name="connsiteX10" fmla="*/ 1517681 w 2294695"/>
              <a:gd name="connsiteY10" fmla="*/ 2086231 h 2212171"/>
              <a:gd name="connsiteX11" fmla="*/ 1522088 w 2294695"/>
              <a:gd name="connsiteY11" fmla="*/ 2067960 h 2212171"/>
              <a:gd name="connsiteX12" fmla="*/ 1441566 w 2294695"/>
              <a:gd name="connsiteY12" fmla="*/ 1904805 h 2212171"/>
              <a:gd name="connsiteX13" fmla="*/ 1046335 w 2294695"/>
              <a:gd name="connsiteY13" fmla="*/ 2028296 h 2212171"/>
              <a:gd name="connsiteX14" fmla="*/ 57696 w 2294695"/>
              <a:gd name="connsiteY14" fmla="*/ 1307617 h 2212171"/>
              <a:gd name="connsiteX15" fmla="*/ 57696 w 2294695"/>
              <a:gd name="connsiteY15" fmla="*/ 874944 h 2212171"/>
              <a:gd name="connsiteX16" fmla="*/ 233247 w 2294695"/>
              <a:gd name="connsiteY16" fmla="*/ 853705 h 2212171"/>
              <a:gd name="connsiteX17" fmla="*/ 249403 w 2294695"/>
              <a:gd name="connsiteY17" fmla="*/ 863309 h 2212171"/>
              <a:gd name="connsiteX18" fmla="*/ 252043 w 2294695"/>
              <a:gd name="connsiteY18" fmla="*/ 864878 h 2212171"/>
              <a:gd name="connsiteX19" fmla="*/ 252045 w 2294695"/>
              <a:gd name="connsiteY19" fmla="*/ 864470 h 2212171"/>
              <a:gd name="connsiteX20" fmla="*/ 291956 w 2294695"/>
              <a:gd name="connsiteY20" fmla="*/ 874162 h 2212171"/>
              <a:gd name="connsiteX21" fmla="*/ 423279 w 2294695"/>
              <a:gd name="connsiteY21" fmla="*/ 688130 h 2212171"/>
              <a:gd name="connsiteX22" fmla="*/ 291956 w 2294695"/>
              <a:gd name="connsiteY22" fmla="*/ 502097 h 2212171"/>
              <a:gd name="connsiteX23" fmla="*/ 254092 w 2294695"/>
              <a:gd name="connsiteY23" fmla="*/ 510889 h 2212171"/>
              <a:gd name="connsiteX24" fmla="*/ 254095 w 2294695"/>
              <a:gd name="connsiteY24" fmla="*/ 510417 h 2212171"/>
              <a:gd name="connsiteX25" fmla="*/ 57696 w 2294695"/>
              <a:gd name="connsiteY25" fmla="*/ 502868 h 2212171"/>
              <a:gd name="connsiteX26" fmla="*/ 57696 w 2294695"/>
              <a:gd name="connsiteY26" fmla="*/ 0 h 2212171"/>
              <a:gd name="connsiteX0" fmla="*/ 60874 w 2293257"/>
              <a:gd name="connsiteY0" fmla="*/ 0 h 2207555"/>
              <a:gd name="connsiteX1" fmla="*/ 2293257 w 2293257"/>
              <a:gd name="connsiteY1" fmla="*/ 1633626 h 2207555"/>
              <a:gd name="connsiteX2" fmla="*/ 1810666 w 2293257"/>
              <a:gd name="connsiteY2" fmla="*/ 1784413 h 2207555"/>
              <a:gd name="connsiteX3" fmla="*/ 1854793 w 2293257"/>
              <a:gd name="connsiteY3" fmla="*/ 1981922 h 2207555"/>
              <a:gd name="connsiteX4" fmla="*/ 1854341 w 2293257"/>
              <a:gd name="connsiteY4" fmla="*/ 1982059 h 2207555"/>
              <a:gd name="connsiteX5" fmla="*/ 1873919 w 2293257"/>
              <a:gd name="connsiteY5" fmla="*/ 2015640 h 2207555"/>
              <a:gd name="connsiteX6" fmla="*/ 1734944 w 2293257"/>
              <a:gd name="connsiteY6" fmla="*/ 2196028 h 2207555"/>
              <a:gd name="connsiteX7" fmla="*/ 1518435 w 2293257"/>
              <a:gd name="connsiteY7" fmla="*/ 2125476 h 2207555"/>
              <a:gd name="connsiteX8" fmla="*/ 1515913 w 2293257"/>
              <a:gd name="connsiteY8" fmla="*/ 2084482 h 2207555"/>
              <a:gd name="connsiteX9" fmla="*/ 1515523 w 2293257"/>
              <a:gd name="connsiteY9" fmla="*/ 2084600 h 2207555"/>
              <a:gd name="connsiteX10" fmla="*/ 1516243 w 2293257"/>
              <a:gd name="connsiteY10" fmla="*/ 2081615 h 2207555"/>
              <a:gd name="connsiteX11" fmla="*/ 1520650 w 2293257"/>
              <a:gd name="connsiteY11" fmla="*/ 2063344 h 2207555"/>
              <a:gd name="connsiteX12" fmla="*/ 1440128 w 2293257"/>
              <a:gd name="connsiteY12" fmla="*/ 1900189 h 2207555"/>
              <a:gd name="connsiteX13" fmla="*/ 1044897 w 2293257"/>
              <a:gd name="connsiteY13" fmla="*/ 2023680 h 2207555"/>
              <a:gd name="connsiteX14" fmla="*/ 56258 w 2293257"/>
              <a:gd name="connsiteY14" fmla="*/ 1303001 h 2207555"/>
              <a:gd name="connsiteX15" fmla="*/ 56258 w 2293257"/>
              <a:gd name="connsiteY15" fmla="*/ 870328 h 2207555"/>
              <a:gd name="connsiteX16" fmla="*/ 231809 w 2293257"/>
              <a:gd name="connsiteY16" fmla="*/ 849089 h 2207555"/>
              <a:gd name="connsiteX17" fmla="*/ 247965 w 2293257"/>
              <a:gd name="connsiteY17" fmla="*/ 858693 h 2207555"/>
              <a:gd name="connsiteX18" fmla="*/ 250605 w 2293257"/>
              <a:gd name="connsiteY18" fmla="*/ 860262 h 2207555"/>
              <a:gd name="connsiteX19" fmla="*/ 250607 w 2293257"/>
              <a:gd name="connsiteY19" fmla="*/ 859854 h 2207555"/>
              <a:gd name="connsiteX20" fmla="*/ 290518 w 2293257"/>
              <a:gd name="connsiteY20" fmla="*/ 869546 h 2207555"/>
              <a:gd name="connsiteX21" fmla="*/ 421841 w 2293257"/>
              <a:gd name="connsiteY21" fmla="*/ 683514 h 2207555"/>
              <a:gd name="connsiteX22" fmla="*/ 290518 w 2293257"/>
              <a:gd name="connsiteY22" fmla="*/ 497481 h 2207555"/>
              <a:gd name="connsiteX23" fmla="*/ 252654 w 2293257"/>
              <a:gd name="connsiteY23" fmla="*/ 506273 h 2207555"/>
              <a:gd name="connsiteX24" fmla="*/ 252657 w 2293257"/>
              <a:gd name="connsiteY24" fmla="*/ 505801 h 2207555"/>
              <a:gd name="connsiteX25" fmla="*/ 56258 w 2293257"/>
              <a:gd name="connsiteY25" fmla="*/ 498252 h 2207555"/>
              <a:gd name="connsiteX26" fmla="*/ 60874 w 2293257"/>
              <a:gd name="connsiteY26" fmla="*/ 0 h 2207555"/>
              <a:gd name="connsiteX0" fmla="*/ 67174 w 2299557"/>
              <a:gd name="connsiteY0" fmla="*/ 0 h 2207555"/>
              <a:gd name="connsiteX1" fmla="*/ 2299557 w 2299557"/>
              <a:gd name="connsiteY1" fmla="*/ 1633626 h 2207555"/>
              <a:gd name="connsiteX2" fmla="*/ 1816966 w 2299557"/>
              <a:gd name="connsiteY2" fmla="*/ 1784413 h 2207555"/>
              <a:gd name="connsiteX3" fmla="*/ 1861093 w 2299557"/>
              <a:gd name="connsiteY3" fmla="*/ 1981922 h 2207555"/>
              <a:gd name="connsiteX4" fmla="*/ 1860641 w 2299557"/>
              <a:gd name="connsiteY4" fmla="*/ 1982059 h 2207555"/>
              <a:gd name="connsiteX5" fmla="*/ 1880219 w 2299557"/>
              <a:gd name="connsiteY5" fmla="*/ 2015640 h 2207555"/>
              <a:gd name="connsiteX6" fmla="*/ 1741244 w 2299557"/>
              <a:gd name="connsiteY6" fmla="*/ 2196028 h 2207555"/>
              <a:gd name="connsiteX7" fmla="*/ 1524735 w 2299557"/>
              <a:gd name="connsiteY7" fmla="*/ 2125476 h 2207555"/>
              <a:gd name="connsiteX8" fmla="*/ 1522213 w 2299557"/>
              <a:gd name="connsiteY8" fmla="*/ 2084482 h 2207555"/>
              <a:gd name="connsiteX9" fmla="*/ 1521823 w 2299557"/>
              <a:gd name="connsiteY9" fmla="*/ 2084600 h 2207555"/>
              <a:gd name="connsiteX10" fmla="*/ 1522543 w 2299557"/>
              <a:gd name="connsiteY10" fmla="*/ 2081615 h 2207555"/>
              <a:gd name="connsiteX11" fmla="*/ 1526950 w 2299557"/>
              <a:gd name="connsiteY11" fmla="*/ 2063344 h 2207555"/>
              <a:gd name="connsiteX12" fmla="*/ 1446428 w 2299557"/>
              <a:gd name="connsiteY12" fmla="*/ 1900189 h 2207555"/>
              <a:gd name="connsiteX13" fmla="*/ 1051197 w 2299557"/>
              <a:gd name="connsiteY13" fmla="*/ 2023680 h 2207555"/>
              <a:gd name="connsiteX14" fmla="*/ 62558 w 2299557"/>
              <a:gd name="connsiteY14" fmla="*/ 1303001 h 2207555"/>
              <a:gd name="connsiteX15" fmla="*/ 62558 w 2299557"/>
              <a:gd name="connsiteY15" fmla="*/ 870328 h 2207555"/>
              <a:gd name="connsiteX16" fmla="*/ 238109 w 2299557"/>
              <a:gd name="connsiteY16" fmla="*/ 849089 h 2207555"/>
              <a:gd name="connsiteX17" fmla="*/ 254265 w 2299557"/>
              <a:gd name="connsiteY17" fmla="*/ 858693 h 2207555"/>
              <a:gd name="connsiteX18" fmla="*/ 256905 w 2299557"/>
              <a:gd name="connsiteY18" fmla="*/ 860262 h 2207555"/>
              <a:gd name="connsiteX19" fmla="*/ 256907 w 2299557"/>
              <a:gd name="connsiteY19" fmla="*/ 859854 h 2207555"/>
              <a:gd name="connsiteX20" fmla="*/ 296818 w 2299557"/>
              <a:gd name="connsiteY20" fmla="*/ 869546 h 2207555"/>
              <a:gd name="connsiteX21" fmla="*/ 428141 w 2299557"/>
              <a:gd name="connsiteY21" fmla="*/ 683514 h 2207555"/>
              <a:gd name="connsiteX22" fmla="*/ 296818 w 2299557"/>
              <a:gd name="connsiteY22" fmla="*/ 497481 h 2207555"/>
              <a:gd name="connsiteX23" fmla="*/ 258954 w 2299557"/>
              <a:gd name="connsiteY23" fmla="*/ 506273 h 2207555"/>
              <a:gd name="connsiteX24" fmla="*/ 258957 w 2299557"/>
              <a:gd name="connsiteY24" fmla="*/ 505801 h 2207555"/>
              <a:gd name="connsiteX25" fmla="*/ 62558 w 2299557"/>
              <a:gd name="connsiteY25" fmla="*/ 498252 h 2207555"/>
              <a:gd name="connsiteX26" fmla="*/ 67174 w 2299557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6197 w 2308788"/>
              <a:gd name="connsiteY2" fmla="*/ 1784413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71789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61545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6405 w 2308788"/>
              <a:gd name="connsiteY0" fmla="*/ 0 h 2207555"/>
              <a:gd name="connsiteX1" fmla="*/ 2308788 w 2308788"/>
              <a:gd name="connsiteY1" fmla="*/ 1633626 h 2207555"/>
              <a:gd name="connsiteX2" fmla="*/ 1829612 w 2308788"/>
              <a:gd name="connsiteY2" fmla="*/ 1774168 h 2207555"/>
              <a:gd name="connsiteX3" fmla="*/ 1870324 w 2308788"/>
              <a:gd name="connsiteY3" fmla="*/ 1981922 h 2207555"/>
              <a:gd name="connsiteX4" fmla="*/ 1869872 w 2308788"/>
              <a:gd name="connsiteY4" fmla="*/ 1982059 h 2207555"/>
              <a:gd name="connsiteX5" fmla="*/ 1889450 w 2308788"/>
              <a:gd name="connsiteY5" fmla="*/ 2015640 h 2207555"/>
              <a:gd name="connsiteX6" fmla="*/ 1750475 w 2308788"/>
              <a:gd name="connsiteY6" fmla="*/ 2196028 h 2207555"/>
              <a:gd name="connsiteX7" fmla="*/ 1533966 w 2308788"/>
              <a:gd name="connsiteY7" fmla="*/ 2125476 h 2207555"/>
              <a:gd name="connsiteX8" fmla="*/ 1531444 w 2308788"/>
              <a:gd name="connsiteY8" fmla="*/ 2084482 h 2207555"/>
              <a:gd name="connsiteX9" fmla="*/ 1531054 w 2308788"/>
              <a:gd name="connsiteY9" fmla="*/ 2084600 h 2207555"/>
              <a:gd name="connsiteX10" fmla="*/ 1531774 w 2308788"/>
              <a:gd name="connsiteY10" fmla="*/ 2081615 h 2207555"/>
              <a:gd name="connsiteX11" fmla="*/ 1536181 w 2308788"/>
              <a:gd name="connsiteY11" fmla="*/ 2063344 h 2207555"/>
              <a:gd name="connsiteX12" fmla="*/ 1455659 w 2308788"/>
              <a:gd name="connsiteY12" fmla="*/ 1900189 h 2207555"/>
              <a:gd name="connsiteX13" fmla="*/ 1060428 w 2308788"/>
              <a:gd name="connsiteY13" fmla="*/ 2023680 h 2207555"/>
              <a:gd name="connsiteX14" fmla="*/ 71789 w 2308788"/>
              <a:gd name="connsiteY14" fmla="*/ 1303001 h 2207555"/>
              <a:gd name="connsiteX15" fmla="*/ 61545 w 2308788"/>
              <a:gd name="connsiteY15" fmla="*/ 870328 h 2207555"/>
              <a:gd name="connsiteX16" fmla="*/ 247340 w 2308788"/>
              <a:gd name="connsiteY16" fmla="*/ 849089 h 2207555"/>
              <a:gd name="connsiteX17" fmla="*/ 263496 w 2308788"/>
              <a:gd name="connsiteY17" fmla="*/ 858693 h 2207555"/>
              <a:gd name="connsiteX18" fmla="*/ 266136 w 2308788"/>
              <a:gd name="connsiteY18" fmla="*/ 860262 h 2207555"/>
              <a:gd name="connsiteX19" fmla="*/ 266138 w 2308788"/>
              <a:gd name="connsiteY19" fmla="*/ 859854 h 2207555"/>
              <a:gd name="connsiteX20" fmla="*/ 306049 w 2308788"/>
              <a:gd name="connsiteY20" fmla="*/ 869546 h 2207555"/>
              <a:gd name="connsiteX21" fmla="*/ 437372 w 2308788"/>
              <a:gd name="connsiteY21" fmla="*/ 683514 h 2207555"/>
              <a:gd name="connsiteX22" fmla="*/ 306049 w 2308788"/>
              <a:gd name="connsiteY22" fmla="*/ 497481 h 2207555"/>
              <a:gd name="connsiteX23" fmla="*/ 268185 w 2308788"/>
              <a:gd name="connsiteY23" fmla="*/ 506273 h 2207555"/>
              <a:gd name="connsiteX24" fmla="*/ 268188 w 2308788"/>
              <a:gd name="connsiteY24" fmla="*/ 505801 h 2207555"/>
              <a:gd name="connsiteX25" fmla="*/ 57941 w 2308788"/>
              <a:gd name="connsiteY25" fmla="*/ 507484 h 2207555"/>
              <a:gd name="connsiteX26" fmla="*/ 76405 w 2308788"/>
              <a:gd name="connsiteY26" fmla="*/ 0 h 2207555"/>
              <a:gd name="connsiteX0" fmla="*/ 71777 w 2304160"/>
              <a:gd name="connsiteY0" fmla="*/ 0 h 2207555"/>
              <a:gd name="connsiteX1" fmla="*/ 2304160 w 2304160"/>
              <a:gd name="connsiteY1" fmla="*/ 1633626 h 2207555"/>
              <a:gd name="connsiteX2" fmla="*/ 1824984 w 2304160"/>
              <a:gd name="connsiteY2" fmla="*/ 1774168 h 2207555"/>
              <a:gd name="connsiteX3" fmla="*/ 1865696 w 2304160"/>
              <a:gd name="connsiteY3" fmla="*/ 1981922 h 2207555"/>
              <a:gd name="connsiteX4" fmla="*/ 1865244 w 2304160"/>
              <a:gd name="connsiteY4" fmla="*/ 1982059 h 2207555"/>
              <a:gd name="connsiteX5" fmla="*/ 1884822 w 2304160"/>
              <a:gd name="connsiteY5" fmla="*/ 2015640 h 2207555"/>
              <a:gd name="connsiteX6" fmla="*/ 1745847 w 2304160"/>
              <a:gd name="connsiteY6" fmla="*/ 2196028 h 2207555"/>
              <a:gd name="connsiteX7" fmla="*/ 1529338 w 2304160"/>
              <a:gd name="connsiteY7" fmla="*/ 2125476 h 2207555"/>
              <a:gd name="connsiteX8" fmla="*/ 1526816 w 2304160"/>
              <a:gd name="connsiteY8" fmla="*/ 2084482 h 2207555"/>
              <a:gd name="connsiteX9" fmla="*/ 1526426 w 2304160"/>
              <a:gd name="connsiteY9" fmla="*/ 2084600 h 2207555"/>
              <a:gd name="connsiteX10" fmla="*/ 1527146 w 2304160"/>
              <a:gd name="connsiteY10" fmla="*/ 2081615 h 2207555"/>
              <a:gd name="connsiteX11" fmla="*/ 1531553 w 2304160"/>
              <a:gd name="connsiteY11" fmla="*/ 2063344 h 2207555"/>
              <a:gd name="connsiteX12" fmla="*/ 1451031 w 2304160"/>
              <a:gd name="connsiteY12" fmla="*/ 1900189 h 2207555"/>
              <a:gd name="connsiteX13" fmla="*/ 1055800 w 2304160"/>
              <a:gd name="connsiteY13" fmla="*/ 2023680 h 2207555"/>
              <a:gd name="connsiteX14" fmla="*/ 67161 w 2304160"/>
              <a:gd name="connsiteY14" fmla="*/ 1303001 h 2207555"/>
              <a:gd name="connsiteX15" fmla="*/ 56917 w 2304160"/>
              <a:gd name="connsiteY15" fmla="*/ 870328 h 2207555"/>
              <a:gd name="connsiteX16" fmla="*/ 242712 w 2304160"/>
              <a:gd name="connsiteY16" fmla="*/ 849089 h 2207555"/>
              <a:gd name="connsiteX17" fmla="*/ 258868 w 2304160"/>
              <a:gd name="connsiteY17" fmla="*/ 858693 h 2207555"/>
              <a:gd name="connsiteX18" fmla="*/ 261508 w 2304160"/>
              <a:gd name="connsiteY18" fmla="*/ 860262 h 2207555"/>
              <a:gd name="connsiteX19" fmla="*/ 261510 w 2304160"/>
              <a:gd name="connsiteY19" fmla="*/ 859854 h 2207555"/>
              <a:gd name="connsiteX20" fmla="*/ 301421 w 2304160"/>
              <a:gd name="connsiteY20" fmla="*/ 869546 h 2207555"/>
              <a:gd name="connsiteX21" fmla="*/ 432744 w 2304160"/>
              <a:gd name="connsiteY21" fmla="*/ 683514 h 2207555"/>
              <a:gd name="connsiteX22" fmla="*/ 301421 w 2304160"/>
              <a:gd name="connsiteY22" fmla="*/ 497481 h 2207555"/>
              <a:gd name="connsiteX23" fmla="*/ 263557 w 2304160"/>
              <a:gd name="connsiteY23" fmla="*/ 506273 h 2207555"/>
              <a:gd name="connsiteX24" fmla="*/ 263560 w 2304160"/>
              <a:gd name="connsiteY24" fmla="*/ 505801 h 2207555"/>
              <a:gd name="connsiteX25" fmla="*/ 60143 w 2304160"/>
              <a:gd name="connsiteY25" fmla="*/ 507484 h 2207555"/>
              <a:gd name="connsiteX26" fmla="*/ 71777 w 2304160"/>
              <a:gd name="connsiteY26" fmla="*/ 0 h 2207555"/>
              <a:gd name="connsiteX0" fmla="*/ 71777 w 2304160"/>
              <a:gd name="connsiteY0" fmla="*/ 0 h 2207555"/>
              <a:gd name="connsiteX1" fmla="*/ 2304160 w 2304160"/>
              <a:gd name="connsiteY1" fmla="*/ 1633626 h 2207555"/>
              <a:gd name="connsiteX2" fmla="*/ 1824984 w 2304160"/>
              <a:gd name="connsiteY2" fmla="*/ 1774168 h 2207555"/>
              <a:gd name="connsiteX3" fmla="*/ 1865696 w 2304160"/>
              <a:gd name="connsiteY3" fmla="*/ 1981922 h 2207555"/>
              <a:gd name="connsiteX4" fmla="*/ 1865244 w 2304160"/>
              <a:gd name="connsiteY4" fmla="*/ 1982059 h 2207555"/>
              <a:gd name="connsiteX5" fmla="*/ 1884822 w 2304160"/>
              <a:gd name="connsiteY5" fmla="*/ 2015640 h 2207555"/>
              <a:gd name="connsiteX6" fmla="*/ 1745847 w 2304160"/>
              <a:gd name="connsiteY6" fmla="*/ 2196028 h 2207555"/>
              <a:gd name="connsiteX7" fmla="*/ 1529338 w 2304160"/>
              <a:gd name="connsiteY7" fmla="*/ 2125476 h 2207555"/>
              <a:gd name="connsiteX8" fmla="*/ 1526816 w 2304160"/>
              <a:gd name="connsiteY8" fmla="*/ 2084482 h 2207555"/>
              <a:gd name="connsiteX9" fmla="*/ 1526426 w 2304160"/>
              <a:gd name="connsiteY9" fmla="*/ 2084600 h 2207555"/>
              <a:gd name="connsiteX10" fmla="*/ 1527146 w 2304160"/>
              <a:gd name="connsiteY10" fmla="*/ 2081615 h 2207555"/>
              <a:gd name="connsiteX11" fmla="*/ 1531553 w 2304160"/>
              <a:gd name="connsiteY11" fmla="*/ 2063344 h 2207555"/>
              <a:gd name="connsiteX12" fmla="*/ 1451031 w 2304160"/>
              <a:gd name="connsiteY12" fmla="*/ 1900189 h 2207555"/>
              <a:gd name="connsiteX13" fmla="*/ 1055800 w 2304160"/>
              <a:gd name="connsiteY13" fmla="*/ 2023680 h 2207555"/>
              <a:gd name="connsiteX14" fmla="*/ 67161 w 2304160"/>
              <a:gd name="connsiteY14" fmla="*/ 1303001 h 2207555"/>
              <a:gd name="connsiteX15" fmla="*/ 56917 w 2304160"/>
              <a:gd name="connsiteY15" fmla="*/ 870328 h 2207555"/>
              <a:gd name="connsiteX16" fmla="*/ 242712 w 2304160"/>
              <a:gd name="connsiteY16" fmla="*/ 849089 h 2207555"/>
              <a:gd name="connsiteX17" fmla="*/ 258868 w 2304160"/>
              <a:gd name="connsiteY17" fmla="*/ 858693 h 2207555"/>
              <a:gd name="connsiteX18" fmla="*/ 261508 w 2304160"/>
              <a:gd name="connsiteY18" fmla="*/ 860262 h 2207555"/>
              <a:gd name="connsiteX19" fmla="*/ 261510 w 2304160"/>
              <a:gd name="connsiteY19" fmla="*/ 859854 h 2207555"/>
              <a:gd name="connsiteX20" fmla="*/ 301421 w 2304160"/>
              <a:gd name="connsiteY20" fmla="*/ 869546 h 2207555"/>
              <a:gd name="connsiteX21" fmla="*/ 432744 w 2304160"/>
              <a:gd name="connsiteY21" fmla="*/ 683514 h 2207555"/>
              <a:gd name="connsiteX22" fmla="*/ 301421 w 2304160"/>
              <a:gd name="connsiteY22" fmla="*/ 497481 h 2207555"/>
              <a:gd name="connsiteX23" fmla="*/ 263557 w 2304160"/>
              <a:gd name="connsiteY23" fmla="*/ 506273 h 2207555"/>
              <a:gd name="connsiteX24" fmla="*/ 263560 w 2304160"/>
              <a:gd name="connsiteY24" fmla="*/ 505801 h 2207555"/>
              <a:gd name="connsiteX25" fmla="*/ 60143 w 2304160"/>
              <a:gd name="connsiteY25" fmla="*/ 507484 h 2207555"/>
              <a:gd name="connsiteX26" fmla="*/ 71777 w 2304160"/>
              <a:gd name="connsiteY26" fmla="*/ 0 h 2207555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5639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3253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304316 w 2307055"/>
              <a:gd name="connsiteY20" fmla="*/ 869682 h 2207691"/>
              <a:gd name="connsiteX21" fmla="*/ 433253 w 2307055"/>
              <a:gd name="connsiteY21" fmla="*/ 683650 h 2207691"/>
              <a:gd name="connsiteX22" fmla="*/ 304316 w 2307055"/>
              <a:gd name="connsiteY22" fmla="*/ 497617 h 2207691"/>
              <a:gd name="connsiteX23" fmla="*/ 266452 w 2307055"/>
              <a:gd name="connsiteY23" fmla="*/ 506409 h 2207691"/>
              <a:gd name="connsiteX24" fmla="*/ 266455 w 2307055"/>
              <a:gd name="connsiteY24" fmla="*/ 505937 h 2207691"/>
              <a:gd name="connsiteX25" fmla="*/ 63038 w 2307055"/>
              <a:gd name="connsiteY25" fmla="*/ 507620 h 2207691"/>
              <a:gd name="connsiteX26" fmla="*/ 74672 w 2307055"/>
              <a:gd name="connsiteY26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33253 w 2307055"/>
              <a:gd name="connsiteY20" fmla="*/ 683650 h 2207691"/>
              <a:gd name="connsiteX21" fmla="*/ 304316 w 2307055"/>
              <a:gd name="connsiteY21" fmla="*/ 497617 h 2207691"/>
              <a:gd name="connsiteX22" fmla="*/ 266452 w 2307055"/>
              <a:gd name="connsiteY22" fmla="*/ 506409 h 2207691"/>
              <a:gd name="connsiteX23" fmla="*/ 266455 w 2307055"/>
              <a:gd name="connsiteY23" fmla="*/ 505937 h 2207691"/>
              <a:gd name="connsiteX24" fmla="*/ 63038 w 2307055"/>
              <a:gd name="connsiteY24" fmla="*/ 507620 h 2207691"/>
              <a:gd name="connsiteX25" fmla="*/ 74672 w 2307055"/>
              <a:gd name="connsiteY25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33253 w 2307055"/>
              <a:gd name="connsiteY20" fmla="*/ 683650 h 2207691"/>
              <a:gd name="connsiteX21" fmla="*/ 266452 w 2307055"/>
              <a:gd name="connsiteY21" fmla="*/ 506409 h 2207691"/>
              <a:gd name="connsiteX22" fmla="*/ 266455 w 2307055"/>
              <a:gd name="connsiteY22" fmla="*/ 505937 h 2207691"/>
              <a:gd name="connsiteX23" fmla="*/ 63038 w 2307055"/>
              <a:gd name="connsiteY23" fmla="*/ 507620 h 2207691"/>
              <a:gd name="connsiteX24" fmla="*/ 74672 w 2307055"/>
              <a:gd name="connsiteY24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266452 w 2307055"/>
              <a:gd name="connsiteY20" fmla="*/ 506409 h 2207691"/>
              <a:gd name="connsiteX21" fmla="*/ 266455 w 2307055"/>
              <a:gd name="connsiteY21" fmla="*/ 505937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266455 w 2307055"/>
              <a:gd name="connsiteY22" fmla="*/ 505937 h 2207691"/>
              <a:gd name="connsiteX23" fmla="*/ 63038 w 2307055"/>
              <a:gd name="connsiteY23" fmla="*/ 507620 h 2207691"/>
              <a:gd name="connsiteX24" fmla="*/ 74672 w 2307055"/>
              <a:gd name="connsiteY24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4691 w 2307055"/>
              <a:gd name="connsiteY20" fmla="*/ 677364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9462 w 2307055"/>
              <a:gd name="connsiteY20" fmla="*/ 679750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264405 w 2307055"/>
              <a:gd name="connsiteY19" fmla="*/ 859990 h 2207691"/>
              <a:gd name="connsiteX20" fmla="*/ 429462 w 2307055"/>
              <a:gd name="connsiteY20" fmla="*/ 679750 h 2207691"/>
              <a:gd name="connsiteX21" fmla="*/ 266452 w 2307055"/>
              <a:gd name="connsiteY21" fmla="*/ 506409 h 2207691"/>
              <a:gd name="connsiteX22" fmla="*/ 63038 w 2307055"/>
              <a:gd name="connsiteY22" fmla="*/ 507620 h 2207691"/>
              <a:gd name="connsiteX23" fmla="*/ 74672 w 2307055"/>
              <a:gd name="connsiteY23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264403 w 2307055"/>
              <a:gd name="connsiteY18" fmla="*/ 860398 h 2207691"/>
              <a:gd name="connsiteX19" fmla="*/ 429462 w 2307055"/>
              <a:gd name="connsiteY19" fmla="*/ 679750 h 2207691"/>
              <a:gd name="connsiteX20" fmla="*/ 266452 w 2307055"/>
              <a:gd name="connsiteY20" fmla="*/ 506409 h 2207691"/>
              <a:gd name="connsiteX21" fmla="*/ 63038 w 2307055"/>
              <a:gd name="connsiteY21" fmla="*/ 507620 h 2207691"/>
              <a:gd name="connsiteX22" fmla="*/ 74672 w 2307055"/>
              <a:gd name="connsiteY22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261763 w 2307055"/>
              <a:gd name="connsiteY17" fmla="*/ 858829 h 2207691"/>
              <a:gd name="connsiteX18" fmla="*/ 429462 w 2307055"/>
              <a:gd name="connsiteY18" fmla="*/ 679750 h 2207691"/>
              <a:gd name="connsiteX19" fmla="*/ 266452 w 2307055"/>
              <a:gd name="connsiteY19" fmla="*/ 506409 h 2207691"/>
              <a:gd name="connsiteX20" fmla="*/ 63038 w 2307055"/>
              <a:gd name="connsiteY20" fmla="*/ 507620 h 2207691"/>
              <a:gd name="connsiteX21" fmla="*/ 74672 w 2307055"/>
              <a:gd name="connsiteY21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922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  <a:gd name="connsiteX0" fmla="*/ 74672 w 2307055"/>
              <a:gd name="connsiteY0" fmla="*/ 136 h 2207691"/>
              <a:gd name="connsiteX1" fmla="*/ 2307055 w 2307055"/>
              <a:gd name="connsiteY1" fmla="*/ 1633762 h 2207691"/>
              <a:gd name="connsiteX2" fmla="*/ 1827879 w 2307055"/>
              <a:gd name="connsiteY2" fmla="*/ 1774304 h 2207691"/>
              <a:gd name="connsiteX3" fmla="*/ 1868591 w 2307055"/>
              <a:gd name="connsiteY3" fmla="*/ 1982058 h 2207691"/>
              <a:gd name="connsiteX4" fmla="*/ 1868139 w 2307055"/>
              <a:gd name="connsiteY4" fmla="*/ 1982195 h 2207691"/>
              <a:gd name="connsiteX5" fmla="*/ 1887717 w 2307055"/>
              <a:gd name="connsiteY5" fmla="*/ 2015776 h 2207691"/>
              <a:gd name="connsiteX6" fmla="*/ 1748742 w 2307055"/>
              <a:gd name="connsiteY6" fmla="*/ 2196164 h 2207691"/>
              <a:gd name="connsiteX7" fmla="*/ 1532233 w 2307055"/>
              <a:gd name="connsiteY7" fmla="*/ 2125612 h 2207691"/>
              <a:gd name="connsiteX8" fmla="*/ 1529711 w 2307055"/>
              <a:gd name="connsiteY8" fmla="*/ 2084618 h 2207691"/>
              <a:gd name="connsiteX9" fmla="*/ 1529321 w 2307055"/>
              <a:gd name="connsiteY9" fmla="*/ 2084736 h 2207691"/>
              <a:gd name="connsiteX10" fmla="*/ 1530041 w 2307055"/>
              <a:gd name="connsiteY10" fmla="*/ 2081751 h 2207691"/>
              <a:gd name="connsiteX11" fmla="*/ 1534448 w 2307055"/>
              <a:gd name="connsiteY11" fmla="*/ 2063480 h 2207691"/>
              <a:gd name="connsiteX12" fmla="*/ 1453926 w 2307055"/>
              <a:gd name="connsiteY12" fmla="*/ 1900325 h 2207691"/>
              <a:gd name="connsiteX13" fmla="*/ 1058695 w 2307055"/>
              <a:gd name="connsiteY13" fmla="*/ 2023816 h 2207691"/>
              <a:gd name="connsiteX14" fmla="*/ 70056 w 2307055"/>
              <a:gd name="connsiteY14" fmla="*/ 1303137 h 2207691"/>
              <a:gd name="connsiteX15" fmla="*/ 59812 w 2307055"/>
              <a:gd name="connsiteY15" fmla="*/ 870464 h 2207691"/>
              <a:gd name="connsiteX16" fmla="*/ 245607 w 2307055"/>
              <a:gd name="connsiteY16" fmla="*/ 842865 h 2207691"/>
              <a:gd name="connsiteX17" fmla="*/ 429462 w 2307055"/>
              <a:gd name="connsiteY17" fmla="*/ 679750 h 2207691"/>
              <a:gd name="connsiteX18" fmla="*/ 266452 w 2307055"/>
              <a:gd name="connsiteY18" fmla="*/ 506409 h 2207691"/>
              <a:gd name="connsiteX19" fmla="*/ 63038 w 2307055"/>
              <a:gd name="connsiteY19" fmla="*/ 507620 h 2207691"/>
              <a:gd name="connsiteX20" fmla="*/ 74672 w 2307055"/>
              <a:gd name="connsiteY20" fmla="*/ 136 h 2207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07055" h="2207691">
                <a:moveTo>
                  <a:pt x="74672" y="136"/>
                </a:moveTo>
                <a:cubicBezTo>
                  <a:pt x="1123244" y="1190"/>
                  <a:pt x="2006356" y="684487"/>
                  <a:pt x="2307055" y="1633762"/>
                </a:cubicBezTo>
                <a:cubicBezTo>
                  <a:pt x="2194001" y="1605480"/>
                  <a:pt x="1910198" y="1703552"/>
                  <a:pt x="1827879" y="1774304"/>
                </a:cubicBezTo>
                <a:cubicBezTo>
                  <a:pt x="1757830" y="1851912"/>
                  <a:pt x="1755698" y="1872615"/>
                  <a:pt x="1868591" y="1982058"/>
                </a:cubicBezTo>
                <a:lnTo>
                  <a:pt x="1868139" y="1982195"/>
                </a:lnTo>
                <a:cubicBezTo>
                  <a:pt x="1877392" y="1991748"/>
                  <a:pt x="1883811" y="2003135"/>
                  <a:pt x="1887717" y="2015776"/>
                </a:cubicBezTo>
                <a:cubicBezTo>
                  <a:pt x="1909127" y="2085071"/>
                  <a:pt x="1846906" y="2165834"/>
                  <a:pt x="1748742" y="2196164"/>
                </a:cubicBezTo>
                <a:cubicBezTo>
                  <a:pt x="1650579" y="2226495"/>
                  <a:pt x="1553644" y="2194907"/>
                  <a:pt x="1532233" y="2125612"/>
                </a:cubicBezTo>
                <a:cubicBezTo>
                  <a:pt x="1528104" y="2112248"/>
                  <a:pt x="1527086" y="2098458"/>
                  <a:pt x="1529711" y="2084618"/>
                </a:cubicBezTo>
                <a:lnTo>
                  <a:pt x="1529321" y="2084736"/>
                </a:lnTo>
                <a:cubicBezTo>
                  <a:pt x="1529623" y="2083736"/>
                  <a:pt x="1529916" y="2082742"/>
                  <a:pt x="1530041" y="2081751"/>
                </a:cubicBezTo>
                <a:cubicBezTo>
                  <a:pt x="1530194" y="2075660"/>
                  <a:pt x="1531692" y="2069530"/>
                  <a:pt x="1534448" y="2063480"/>
                </a:cubicBezTo>
                <a:cubicBezTo>
                  <a:pt x="1556709" y="1954265"/>
                  <a:pt x="1544291" y="1914129"/>
                  <a:pt x="1453926" y="1900325"/>
                </a:cubicBezTo>
                <a:cubicBezTo>
                  <a:pt x="1346087" y="1876605"/>
                  <a:pt x="1146044" y="1924597"/>
                  <a:pt x="1058695" y="2023816"/>
                </a:cubicBezTo>
                <a:cubicBezTo>
                  <a:pt x="923872" y="1606209"/>
                  <a:pt x="532322" y="1304161"/>
                  <a:pt x="70056" y="1303137"/>
                </a:cubicBezTo>
                <a:cubicBezTo>
                  <a:pt x="-25739" y="1128499"/>
                  <a:pt x="23856" y="949312"/>
                  <a:pt x="59812" y="870464"/>
                </a:cubicBezTo>
                <a:cubicBezTo>
                  <a:pt x="98331" y="795785"/>
                  <a:pt x="155742" y="767223"/>
                  <a:pt x="245607" y="842865"/>
                </a:cubicBezTo>
                <a:cubicBezTo>
                  <a:pt x="307215" y="811079"/>
                  <a:pt x="425988" y="736886"/>
                  <a:pt x="429462" y="679750"/>
                </a:cubicBezTo>
                <a:cubicBezTo>
                  <a:pt x="429803" y="620820"/>
                  <a:pt x="385844" y="488073"/>
                  <a:pt x="266452" y="506409"/>
                </a:cubicBezTo>
                <a:cubicBezTo>
                  <a:pt x="191866" y="587831"/>
                  <a:pt x="95001" y="591999"/>
                  <a:pt x="63038" y="507620"/>
                </a:cubicBezTo>
                <a:cubicBezTo>
                  <a:pt x="-51213" y="292952"/>
                  <a:pt x="12952" y="-7328"/>
                  <a:pt x="74672" y="136"/>
                </a:cubicBezTo>
                <a:close/>
              </a:path>
            </a:pathLst>
          </a:custGeom>
          <a:solidFill>
            <a:srgbClr val="70891C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</a:t>
            </a:r>
          </a:p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ractice</a:t>
            </a:r>
          </a:p>
        </p:txBody>
      </p:sp>
      <p:sp>
        <p:nvSpPr>
          <p:cNvPr id="109" name="Oval 5"/>
          <p:cNvSpPr/>
          <p:nvPr/>
        </p:nvSpPr>
        <p:spPr>
          <a:xfrm>
            <a:off x="6686803" y="3054170"/>
            <a:ext cx="1653147" cy="2500175"/>
          </a:xfrm>
          <a:custGeom>
            <a:avLst/>
            <a:gdLst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51918 w 1731279"/>
              <a:gd name="connsiteY3" fmla="*/ 2180079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0 h 2612880"/>
              <a:gd name="connsiteX1" fmla="*/ 1731279 w 1731279"/>
              <a:gd name="connsiteY1" fmla="*/ 715596 h 2612880"/>
              <a:gd name="connsiteX2" fmla="*/ 763892 w 1731279"/>
              <a:gd name="connsiteY2" fmla="*/ 2612880 h 2612880"/>
              <a:gd name="connsiteX3" fmla="*/ 447302 w 1731279"/>
              <a:gd name="connsiteY3" fmla="*/ 2189311 h 2612880"/>
              <a:gd name="connsiteX4" fmla="*/ 337458 w 1731279"/>
              <a:gd name="connsiteY4" fmla="*/ 2308562 h 2612880"/>
              <a:gd name="connsiteX5" fmla="*/ 337170 w 1731279"/>
              <a:gd name="connsiteY5" fmla="*/ 2308189 h 2612880"/>
              <a:gd name="connsiteX6" fmla="*/ 312721 w 1731279"/>
              <a:gd name="connsiteY6" fmla="*/ 2338408 h 2612880"/>
              <a:gd name="connsiteX7" fmla="*/ 94757 w 1731279"/>
              <a:gd name="connsiteY7" fmla="*/ 2272488 h 2612880"/>
              <a:gd name="connsiteX8" fmla="*/ 83891 w 1731279"/>
              <a:gd name="connsiteY8" fmla="*/ 2045033 h 2612880"/>
              <a:gd name="connsiteX9" fmla="*/ 121322 w 1731279"/>
              <a:gd name="connsiteY9" fmla="*/ 2028129 h 2612880"/>
              <a:gd name="connsiteX10" fmla="*/ 121073 w 1731279"/>
              <a:gd name="connsiteY10" fmla="*/ 2027806 h 2612880"/>
              <a:gd name="connsiteX11" fmla="*/ 124120 w 1731279"/>
              <a:gd name="connsiteY11" fmla="*/ 2027420 h 2612880"/>
              <a:gd name="connsiteX12" fmla="*/ 142765 w 1731279"/>
              <a:gd name="connsiteY12" fmla="*/ 2025056 h 2612880"/>
              <a:gd name="connsiteX13" fmla="*/ 271318 w 1731279"/>
              <a:gd name="connsiteY13" fmla="*/ 1929533 h 2612880"/>
              <a:gd name="connsiteX14" fmla="*/ 0 w 1731279"/>
              <a:gd name="connsiteY14" fmla="*/ 1553135 h 2612880"/>
              <a:gd name="connsiteX15" fmla="*/ 423687 w 1731279"/>
              <a:gd name="connsiteY15" fmla="*/ 715596 h 2612880"/>
              <a:gd name="connsiteX16" fmla="*/ 372813 w 1731279"/>
              <a:gd name="connsiteY16" fmla="*/ 394660 h 2612880"/>
              <a:gd name="connsiteX17" fmla="*/ 766096 w 1731279"/>
              <a:gd name="connsiteY17" fmla="*/ 270158 h 2612880"/>
              <a:gd name="connsiteX18" fmla="*/ 848322 w 1731279"/>
              <a:gd name="connsiteY18" fmla="*/ 433657 h 2612880"/>
              <a:gd name="connsiteX19" fmla="*/ 843915 w 1731279"/>
              <a:gd name="connsiteY19" fmla="*/ 451928 h 2612880"/>
              <a:gd name="connsiteX20" fmla="*/ 843195 w 1731279"/>
              <a:gd name="connsiteY20" fmla="*/ 454913 h 2612880"/>
              <a:gd name="connsiteX21" fmla="*/ 843585 w 1731279"/>
              <a:gd name="connsiteY21" fmla="*/ 454795 h 2612880"/>
              <a:gd name="connsiteX22" fmla="*/ 846107 w 1731279"/>
              <a:gd name="connsiteY22" fmla="*/ 495789 h 2612880"/>
              <a:gd name="connsiteX23" fmla="*/ 1062616 w 1731279"/>
              <a:gd name="connsiteY23" fmla="*/ 566341 h 2612880"/>
              <a:gd name="connsiteX24" fmla="*/ 1201591 w 1731279"/>
              <a:gd name="connsiteY24" fmla="*/ 385953 h 2612880"/>
              <a:gd name="connsiteX25" fmla="*/ 1182013 w 1731279"/>
              <a:gd name="connsiteY25" fmla="*/ 352372 h 2612880"/>
              <a:gd name="connsiteX26" fmla="*/ 1182465 w 1731279"/>
              <a:gd name="connsiteY26" fmla="*/ 352235 h 2612880"/>
              <a:gd name="connsiteX27" fmla="*/ 1141229 w 1731279"/>
              <a:gd name="connsiteY27" fmla="*/ 151403 h 2612880"/>
              <a:gd name="connsiteX28" fmla="*/ 1619488 w 1731279"/>
              <a:gd name="connsiteY28" fmla="*/ 0 h 2612880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4122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7265 h 2620145"/>
              <a:gd name="connsiteX1" fmla="*/ 1731279 w 1731279"/>
              <a:gd name="connsiteY1" fmla="*/ 722861 h 2620145"/>
              <a:gd name="connsiteX2" fmla="*/ 763892 w 1731279"/>
              <a:gd name="connsiteY2" fmla="*/ 2620145 h 2620145"/>
              <a:gd name="connsiteX3" fmla="*/ 447302 w 1731279"/>
              <a:gd name="connsiteY3" fmla="*/ 2196576 h 2620145"/>
              <a:gd name="connsiteX4" fmla="*/ 337458 w 1731279"/>
              <a:gd name="connsiteY4" fmla="*/ 2315827 h 2620145"/>
              <a:gd name="connsiteX5" fmla="*/ 337170 w 1731279"/>
              <a:gd name="connsiteY5" fmla="*/ 2315454 h 2620145"/>
              <a:gd name="connsiteX6" fmla="*/ 312721 w 1731279"/>
              <a:gd name="connsiteY6" fmla="*/ 2345673 h 2620145"/>
              <a:gd name="connsiteX7" fmla="*/ 94757 w 1731279"/>
              <a:gd name="connsiteY7" fmla="*/ 2279753 h 2620145"/>
              <a:gd name="connsiteX8" fmla="*/ 83891 w 1731279"/>
              <a:gd name="connsiteY8" fmla="*/ 2052298 h 2620145"/>
              <a:gd name="connsiteX9" fmla="*/ 121322 w 1731279"/>
              <a:gd name="connsiteY9" fmla="*/ 2035394 h 2620145"/>
              <a:gd name="connsiteX10" fmla="*/ 121073 w 1731279"/>
              <a:gd name="connsiteY10" fmla="*/ 2035071 h 2620145"/>
              <a:gd name="connsiteX11" fmla="*/ 124120 w 1731279"/>
              <a:gd name="connsiteY11" fmla="*/ 2034685 h 2620145"/>
              <a:gd name="connsiteX12" fmla="*/ 142765 w 1731279"/>
              <a:gd name="connsiteY12" fmla="*/ 2032321 h 2620145"/>
              <a:gd name="connsiteX13" fmla="*/ 271318 w 1731279"/>
              <a:gd name="connsiteY13" fmla="*/ 1936798 h 2620145"/>
              <a:gd name="connsiteX14" fmla="*/ 0 w 1731279"/>
              <a:gd name="connsiteY14" fmla="*/ 1560400 h 2620145"/>
              <a:gd name="connsiteX15" fmla="*/ 423687 w 1731279"/>
              <a:gd name="connsiteY15" fmla="*/ 722861 h 2620145"/>
              <a:gd name="connsiteX16" fmla="*/ 372813 w 1731279"/>
              <a:gd name="connsiteY16" fmla="*/ 401925 h 2620145"/>
              <a:gd name="connsiteX17" fmla="*/ 766096 w 1731279"/>
              <a:gd name="connsiteY17" fmla="*/ 277423 h 2620145"/>
              <a:gd name="connsiteX18" fmla="*/ 848322 w 1731279"/>
              <a:gd name="connsiteY18" fmla="*/ 440922 h 2620145"/>
              <a:gd name="connsiteX19" fmla="*/ 843915 w 1731279"/>
              <a:gd name="connsiteY19" fmla="*/ 459193 h 2620145"/>
              <a:gd name="connsiteX20" fmla="*/ 843195 w 1731279"/>
              <a:gd name="connsiteY20" fmla="*/ 462178 h 2620145"/>
              <a:gd name="connsiteX21" fmla="*/ 843585 w 1731279"/>
              <a:gd name="connsiteY21" fmla="*/ 462060 h 2620145"/>
              <a:gd name="connsiteX22" fmla="*/ 846107 w 1731279"/>
              <a:gd name="connsiteY22" fmla="*/ 503054 h 2620145"/>
              <a:gd name="connsiteX23" fmla="*/ 1062616 w 1731279"/>
              <a:gd name="connsiteY23" fmla="*/ 573606 h 2620145"/>
              <a:gd name="connsiteX24" fmla="*/ 1201591 w 1731279"/>
              <a:gd name="connsiteY24" fmla="*/ 393218 h 2620145"/>
              <a:gd name="connsiteX25" fmla="*/ 1182013 w 1731279"/>
              <a:gd name="connsiteY25" fmla="*/ 359637 h 2620145"/>
              <a:gd name="connsiteX26" fmla="*/ 1182465 w 1731279"/>
              <a:gd name="connsiteY26" fmla="*/ 359500 h 2620145"/>
              <a:gd name="connsiteX27" fmla="*/ 1134399 w 1731279"/>
              <a:gd name="connsiteY27" fmla="*/ 158668 h 2620145"/>
              <a:gd name="connsiteX28" fmla="*/ 1619488 w 1731279"/>
              <a:gd name="connsiteY28" fmla="*/ 7265 h 2620145"/>
              <a:gd name="connsiteX0" fmla="*/ 1619488 w 1731279"/>
              <a:gd name="connsiteY0" fmla="*/ 5464 h 2618344"/>
              <a:gd name="connsiteX1" fmla="*/ 1731279 w 1731279"/>
              <a:gd name="connsiteY1" fmla="*/ 721060 h 2618344"/>
              <a:gd name="connsiteX2" fmla="*/ 763892 w 1731279"/>
              <a:gd name="connsiteY2" fmla="*/ 2618344 h 2618344"/>
              <a:gd name="connsiteX3" fmla="*/ 447302 w 1731279"/>
              <a:gd name="connsiteY3" fmla="*/ 2194775 h 2618344"/>
              <a:gd name="connsiteX4" fmla="*/ 337458 w 1731279"/>
              <a:gd name="connsiteY4" fmla="*/ 2314026 h 2618344"/>
              <a:gd name="connsiteX5" fmla="*/ 337170 w 1731279"/>
              <a:gd name="connsiteY5" fmla="*/ 2313653 h 2618344"/>
              <a:gd name="connsiteX6" fmla="*/ 312721 w 1731279"/>
              <a:gd name="connsiteY6" fmla="*/ 2343872 h 2618344"/>
              <a:gd name="connsiteX7" fmla="*/ 94757 w 1731279"/>
              <a:gd name="connsiteY7" fmla="*/ 2277952 h 2618344"/>
              <a:gd name="connsiteX8" fmla="*/ 83891 w 1731279"/>
              <a:gd name="connsiteY8" fmla="*/ 2050497 h 2618344"/>
              <a:gd name="connsiteX9" fmla="*/ 121322 w 1731279"/>
              <a:gd name="connsiteY9" fmla="*/ 2033593 h 2618344"/>
              <a:gd name="connsiteX10" fmla="*/ 121073 w 1731279"/>
              <a:gd name="connsiteY10" fmla="*/ 2033270 h 2618344"/>
              <a:gd name="connsiteX11" fmla="*/ 124120 w 1731279"/>
              <a:gd name="connsiteY11" fmla="*/ 2032884 h 2618344"/>
              <a:gd name="connsiteX12" fmla="*/ 142765 w 1731279"/>
              <a:gd name="connsiteY12" fmla="*/ 2030520 h 2618344"/>
              <a:gd name="connsiteX13" fmla="*/ 271318 w 1731279"/>
              <a:gd name="connsiteY13" fmla="*/ 1934997 h 2618344"/>
              <a:gd name="connsiteX14" fmla="*/ 0 w 1731279"/>
              <a:gd name="connsiteY14" fmla="*/ 1558599 h 2618344"/>
              <a:gd name="connsiteX15" fmla="*/ 423687 w 1731279"/>
              <a:gd name="connsiteY15" fmla="*/ 721060 h 2618344"/>
              <a:gd name="connsiteX16" fmla="*/ 372813 w 1731279"/>
              <a:gd name="connsiteY16" fmla="*/ 400124 h 2618344"/>
              <a:gd name="connsiteX17" fmla="*/ 766096 w 1731279"/>
              <a:gd name="connsiteY17" fmla="*/ 275622 h 2618344"/>
              <a:gd name="connsiteX18" fmla="*/ 848322 w 1731279"/>
              <a:gd name="connsiteY18" fmla="*/ 439121 h 2618344"/>
              <a:gd name="connsiteX19" fmla="*/ 843915 w 1731279"/>
              <a:gd name="connsiteY19" fmla="*/ 457392 h 2618344"/>
              <a:gd name="connsiteX20" fmla="*/ 843195 w 1731279"/>
              <a:gd name="connsiteY20" fmla="*/ 460377 h 2618344"/>
              <a:gd name="connsiteX21" fmla="*/ 843585 w 1731279"/>
              <a:gd name="connsiteY21" fmla="*/ 460259 h 2618344"/>
              <a:gd name="connsiteX22" fmla="*/ 846107 w 1731279"/>
              <a:gd name="connsiteY22" fmla="*/ 501253 h 2618344"/>
              <a:gd name="connsiteX23" fmla="*/ 1062616 w 1731279"/>
              <a:gd name="connsiteY23" fmla="*/ 571805 h 2618344"/>
              <a:gd name="connsiteX24" fmla="*/ 1201591 w 1731279"/>
              <a:gd name="connsiteY24" fmla="*/ 391417 h 2618344"/>
              <a:gd name="connsiteX25" fmla="*/ 1182013 w 1731279"/>
              <a:gd name="connsiteY25" fmla="*/ 357836 h 2618344"/>
              <a:gd name="connsiteX26" fmla="*/ 1182465 w 1731279"/>
              <a:gd name="connsiteY26" fmla="*/ 357699 h 2618344"/>
              <a:gd name="connsiteX27" fmla="*/ 1134399 w 1731279"/>
              <a:gd name="connsiteY27" fmla="*/ 156867 h 2618344"/>
              <a:gd name="connsiteX28" fmla="*/ 1619488 w 1731279"/>
              <a:gd name="connsiteY28" fmla="*/ 5464 h 2618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731279" h="2618344">
                <a:moveTo>
                  <a:pt x="1619488" y="5464"/>
                </a:moveTo>
                <a:cubicBezTo>
                  <a:pt x="1692361" y="230917"/>
                  <a:pt x="1731279" y="471444"/>
                  <a:pt x="1731279" y="721060"/>
                </a:cubicBezTo>
                <a:cubicBezTo>
                  <a:pt x="1731279" y="1501457"/>
                  <a:pt x="1350883" y="2193006"/>
                  <a:pt x="763892" y="2618344"/>
                </a:cubicBezTo>
                <a:cubicBezTo>
                  <a:pt x="771195" y="2456127"/>
                  <a:pt x="536932" y="2213388"/>
                  <a:pt x="447302" y="2194775"/>
                </a:cubicBezTo>
                <a:cubicBezTo>
                  <a:pt x="393379" y="2181833"/>
                  <a:pt x="386526" y="2200241"/>
                  <a:pt x="337458" y="2314026"/>
                </a:cubicBezTo>
                <a:lnTo>
                  <a:pt x="337170" y="2313653"/>
                </a:lnTo>
                <a:cubicBezTo>
                  <a:pt x="331522" y="2325693"/>
                  <a:pt x="323154" y="2335735"/>
                  <a:pt x="312721" y="2343872"/>
                </a:cubicBezTo>
                <a:cubicBezTo>
                  <a:pt x="255533" y="2388479"/>
                  <a:pt x="157947" y="2358965"/>
                  <a:pt x="94757" y="2277952"/>
                </a:cubicBezTo>
                <a:cubicBezTo>
                  <a:pt x="31568" y="2196939"/>
                  <a:pt x="26703" y="2095103"/>
                  <a:pt x="83891" y="2050497"/>
                </a:cubicBezTo>
                <a:cubicBezTo>
                  <a:pt x="94920" y="2041895"/>
                  <a:pt x="107451" y="2036049"/>
                  <a:pt x="121322" y="2033593"/>
                </a:cubicBezTo>
                <a:lnTo>
                  <a:pt x="121073" y="2033270"/>
                </a:lnTo>
                <a:cubicBezTo>
                  <a:pt x="122115" y="2033197"/>
                  <a:pt x="123149" y="2033118"/>
                  <a:pt x="124120" y="2032884"/>
                </a:cubicBezTo>
                <a:cubicBezTo>
                  <a:pt x="129868" y="2030865"/>
                  <a:pt x="136131" y="2030091"/>
                  <a:pt x="142765" y="2030520"/>
                </a:cubicBezTo>
                <a:cubicBezTo>
                  <a:pt x="235465" y="2015401"/>
                  <a:pt x="273567" y="1994664"/>
                  <a:pt x="271318" y="1934997"/>
                </a:cubicBezTo>
                <a:cubicBezTo>
                  <a:pt x="267042" y="1827482"/>
                  <a:pt x="140700" y="1615853"/>
                  <a:pt x="0" y="1558599"/>
                </a:cubicBezTo>
                <a:cubicBezTo>
                  <a:pt x="257316" y="1369669"/>
                  <a:pt x="423687" y="1064793"/>
                  <a:pt x="423687" y="721060"/>
                </a:cubicBezTo>
                <a:cubicBezTo>
                  <a:pt x="423687" y="609022"/>
                  <a:pt x="406012" y="501112"/>
                  <a:pt x="372813" y="400124"/>
                </a:cubicBezTo>
                <a:cubicBezTo>
                  <a:pt x="514152" y="249344"/>
                  <a:pt x="703301" y="255653"/>
                  <a:pt x="766096" y="275622"/>
                </a:cubicBezTo>
                <a:cubicBezTo>
                  <a:pt x="858007" y="289267"/>
                  <a:pt x="870723" y="329218"/>
                  <a:pt x="848322" y="439121"/>
                </a:cubicBezTo>
                <a:cubicBezTo>
                  <a:pt x="845566" y="445171"/>
                  <a:pt x="844068" y="451301"/>
                  <a:pt x="843915" y="457392"/>
                </a:cubicBezTo>
                <a:cubicBezTo>
                  <a:pt x="843790" y="458383"/>
                  <a:pt x="843497" y="459377"/>
                  <a:pt x="843195" y="460377"/>
                </a:cubicBezTo>
                <a:lnTo>
                  <a:pt x="843585" y="460259"/>
                </a:lnTo>
                <a:cubicBezTo>
                  <a:pt x="840960" y="474099"/>
                  <a:pt x="841978" y="487889"/>
                  <a:pt x="846107" y="501253"/>
                </a:cubicBezTo>
                <a:cubicBezTo>
                  <a:pt x="867518" y="570548"/>
                  <a:pt x="964453" y="602136"/>
                  <a:pt x="1062616" y="571805"/>
                </a:cubicBezTo>
                <a:cubicBezTo>
                  <a:pt x="1160780" y="541475"/>
                  <a:pt x="1223001" y="460712"/>
                  <a:pt x="1201591" y="391417"/>
                </a:cubicBezTo>
                <a:cubicBezTo>
                  <a:pt x="1197685" y="378776"/>
                  <a:pt x="1191266" y="367389"/>
                  <a:pt x="1182013" y="357836"/>
                </a:cubicBezTo>
                <a:lnTo>
                  <a:pt x="1182465" y="357699"/>
                </a:lnTo>
                <a:cubicBezTo>
                  <a:pt x="1068110" y="246839"/>
                  <a:pt x="1061356" y="220649"/>
                  <a:pt x="1134399" y="156867"/>
                </a:cubicBezTo>
                <a:cubicBezTo>
                  <a:pt x="1242595" y="62004"/>
                  <a:pt x="1518123" y="-22612"/>
                  <a:pt x="1619488" y="5464"/>
                </a:cubicBezTo>
                <a:close/>
              </a:path>
            </a:pathLst>
          </a:custGeom>
          <a:solidFill>
            <a:srgbClr val="088162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127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Resource</a:t>
            </a:r>
          </a:p>
        </p:txBody>
      </p:sp>
      <p:sp>
        <p:nvSpPr>
          <p:cNvPr id="110" name="Oval 8"/>
          <p:cNvSpPr/>
          <p:nvPr/>
        </p:nvSpPr>
        <p:spPr>
          <a:xfrm>
            <a:off x="4783139" y="4541401"/>
            <a:ext cx="2638123" cy="1445236"/>
          </a:xfrm>
          <a:custGeom>
            <a:avLst/>
            <a:gdLst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2002931 w 2770661"/>
              <a:gd name="connsiteY0" fmla="*/ 0 h 1513545"/>
              <a:gd name="connsiteX1" fmla="*/ 2272952 w 2770661"/>
              <a:gd name="connsiteY1" fmla="*/ 373312 h 1513545"/>
              <a:gd name="connsiteX2" fmla="*/ 2144257 w 2770661"/>
              <a:gd name="connsiteY2" fmla="*/ 472997 h 1513545"/>
              <a:gd name="connsiteX3" fmla="*/ 2125612 w 2770661"/>
              <a:gd name="connsiteY3" fmla="*/ 475361 h 1513545"/>
              <a:gd name="connsiteX4" fmla="*/ 2122565 w 2770661"/>
              <a:gd name="connsiteY4" fmla="*/ 475747 h 1513545"/>
              <a:gd name="connsiteX5" fmla="*/ 2122814 w 2770661"/>
              <a:gd name="connsiteY5" fmla="*/ 476070 h 1513545"/>
              <a:gd name="connsiteX6" fmla="*/ 2085383 w 2770661"/>
              <a:gd name="connsiteY6" fmla="*/ 492974 h 1513545"/>
              <a:gd name="connsiteX7" fmla="*/ 2096249 w 2770661"/>
              <a:gd name="connsiteY7" fmla="*/ 720429 h 1513545"/>
              <a:gd name="connsiteX8" fmla="*/ 2314213 w 2770661"/>
              <a:gd name="connsiteY8" fmla="*/ 786349 h 1513545"/>
              <a:gd name="connsiteX9" fmla="*/ 2338662 w 2770661"/>
              <a:gd name="connsiteY9" fmla="*/ 756130 h 1513545"/>
              <a:gd name="connsiteX10" fmla="*/ 2338950 w 2770661"/>
              <a:gd name="connsiteY10" fmla="*/ 756503 h 1513545"/>
              <a:gd name="connsiteX11" fmla="*/ 2457744 w 2770661"/>
              <a:gd name="connsiteY11" fmla="*/ 628792 h 1513545"/>
              <a:gd name="connsiteX12" fmla="*/ 2770661 w 2770661"/>
              <a:gd name="connsiteY12" fmla="*/ 1061408 h 1513545"/>
              <a:gd name="connsiteX13" fmla="*/ 1382763 w 2770661"/>
              <a:gd name="connsiteY13" fmla="*/ 1513545 h 1513545"/>
              <a:gd name="connsiteX14" fmla="*/ 0 w 2770661"/>
              <a:gd name="connsiteY14" fmla="*/ 1063957 h 1513545"/>
              <a:gd name="connsiteX15" fmla="*/ 281002 w 2770661"/>
              <a:gd name="connsiteY15" fmla="*/ 676181 h 1513545"/>
              <a:gd name="connsiteX16" fmla="*/ 123717 w 2770661"/>
              <a:gd name="connsiteY16" fmla="*/ 589714 h 1513545"/>
              <a:gd name="connsiteX17" fmla="*/ 123990 w 2770661"/>
              <a:gd name="connsiteY17" fmla="*/ 589329 h 1513545"/>
              <a:gd name="connsiteX18" fmla="*/ 87934 w 2770661"/>
              <a:gd name="connsiteY18" fmla="*/ 574806 h 1513545"/>
              <a:gd name="connsiteX19" fmla="*/ 87107 w 2770661"/>
              <a:gd name="connsiteY19" fmla="*/ 347093 h 1513545"/>
              <a:gd name="connsiteX20" fmla="*/ 301399 w 2770661"/>
              <a:gd name="connsiteY20" fmla="*/ 270068 h 1513545"/>
              <a:gd name="connsiteX21" fmla="*/ 328527 w 2770661"/>
              <a:gd name="connsiteY21" fmla="*/ 300905 h 1513545"/>
              <a:gd name="connsiteX22" fmla="*/ 328763 w 2770661"/>
              <a:gd name="connsiteY22" fmla="*/ 300572 h 1513545"/>
              <a:gd name="connsiteX23" fmla="*/ 330025 w 2770661"/>
              <a:gd name="connsiteY23" fmla="*/ 303372 h 1513545"/>
              <a:gd name="connsiteX24" fmla="*/ 337747 w 2770661"/>
              <a:gd name="connsiteY24" fmla="*/ 320507 h 1513545"/>
              <a:gd name="connsiteX25" fmla="*/ 470732 w 2770661"/>
              <a:gd name="connsiteY25" fmla="*/ 414358 h 1513545"/>
              <a:gd name="connsiteX26" fmla="*/ 768044 w 2770661"/>
              <a:gd name="connsiteY26" fmla="*/ 4075 h 1513545"/>
              <a:gd name="connsiteX27" fmla="*/ 1382763 w 2770661"/>
              <a:gd name="connsiteY27" fmla="*/ 205953 h 1513545"/>
              <a:gd name="connsiteX28" fmla="*/ 2002931 w 2770661"/>
              <a:gd name="connsiteY28" fmla="*/ 0 h 1513545"/>
              <a:gd name="connsiteX0" fmla="*/ 1995080 w 2762810"/>
              <a:gd name="connsiteY0" fmla="*/ 0 h 1513545"/>
              <a:gd name="connsiteX1" fmla="*/ 2265101 w 2762810"/>
              <a:gd name="connsiteY1" fmla="*/ 373312 h 1513545"/>
              <a:gd name="connsiteX2" fmla="*/ 2136406 w 2762810"/>
              <a:gd name="connsiteY2" fmla="*/ 472997 h 1513545"/>
              <a:gd name="connsiteX3" fmla="*/ 2117761 w 2762810"/>
              <a:gd name="connsiteY3" fmla="*/ 475361 h 1513545"/>
              <a:gd name="connsiteX4" fmla="*/ 2114714 w 2762810"/>
              <a:gd name="connsiteY4" fmla="*/ 475747 h 1513545"/>
              <a:gd name="connsiteX5" fmla="*/ 2114963 w 2762810"/>
              <a:gd name="connsiteY5" fmla="*/ 476070 h 1513545"/>
              <a:gd name="connsiteX6" fmla="*/ 2077532 w 2762810"/>
              <a:gd name="connsiteY6" fmla="*/ 492974 h 1513545"/>
              <a:gd name="connsiteX7" fmla="*/ 2088398 w 2762810"/>
              <a:gd name="connsiteY7" fmla="*/ 720429 h 1513545"/>
              <a:gd name="connsiteX8" fmla="*/ 2306362 w 2762810"/>
              <a:gd name="connsiteY8" fmla="*/ 786349 h 1513545"/>
              <a:gd name="connsiteX9" fmla="*/ 2330811 w 2762810"/>
              <a:gd name="connsiteY9" fmla="*/ 756130 h 1513545"/>
              <a:gd name="connsiteX10" fmla="*/ 2331099 w 2762810"/>
              <a:gd name="connsiteY10" fmla="*/ 756503 h 1513545"/>
              <a:gd name="connsiteX11" fmla="*/ 2449893 w 2762810"/>
              <a:gd name="connsiteY11" fmla="*/ 628792 h 1513545"/>
              <a:gd name="connsiteX12" fmla="*/ 2762810 w 2762810"/>
              <a:gd name="connsiteY12" fmla="*/ 1061408 h 1513545"/>
              <a:gd name="connsiteX13" fmla="*/ 1374912 w 2762810"/>
              <a:gd name="connsiteY13" fmla="*/ 1513545 h 1513545"/>
              <a:gd name="connsiteX14" fmla="*/ 0 w 2762810"/>
              <a:gd name="connsiteY14" fmla="*/ 1063957 h 1513545"/>
              <a:gd name="connsiteX15" fmla="*/ 273151 w 2762810"/>
              <a:gd name="connsiteY15" fmla="*/ 676181 h 1513545"/>
              <a:gd name="connsiteX16" fmla="*/ 115866 w 2762810"/>
              <a:gd name="connsiteY16" fmla="*/ 589714 h 1513545"/>
              <a:gd name="connsiteX17" fmla="*/ 116139 w 2762810"/>
              <a:gd name="connsiteY17" fmla="*/ 589329 h 1513545"/>
              <a:gd name="connsiteX18" fmla="*/ 80083 w 2762810"/>
              <a:gd name="connsiteY18" fmla="*/ 574806 h 1513545"/>
              <a:gd name="connsiteX19" fmla="*/ 79256 w 2762810"/>
              <a:gd name="connsiteY19" fmla="*/ 347093 h 1513545"/>
              <a:gd name="connsiteX20" fmla="*/ 293548 w 2762810"/>
              <a:gd name="connsiteY20" fmla="*/ 270068 h 1513545"/>
              <a:gd name="connsiteX21" fmla="*/ 320676 w 2762810"/>
              <a:gd name="connsiteY21" fmla="*/ 300905 h 1513545"/>
              <a:gd name="connsiteX22" fmla="*/ 320912 w 2762810"/>
              <a:gd name="connsiteY22" fmla="*/ 300572 h 1513545"/>
              <a:gd name="connsiteX23" fmla="*/ 322174 w 2762810"/>
              <a:gd name="connsiteY23" fmla="*/ 303372 h 1513545"/>
              <a:gd name="connsiteX24" fmla="*/ 329896 w 2762810"/>
              <a:gd name="connsiteY24" fmla="*/ 320507 h 1513545"/>
              <a:gd name="connsiteX25" fmla="*/ 462881 w 2762810"/>
              <a:gd name="connsiteY25" fmla="*/ 414358 h 1513545"/>
              <a:gd name="connsiteX26" fmla="*/ 760193 w 2762810"/>
              <a:gd name="connsiteY26" fmla="*/ 4075 h 1513545"/>
              <a:gd name="connsiteX27" fmla="*/ 1374912 w 2762810"/>
              <a:gd name="connsiteY27" fmla="*/ 205953 h 1513545"/>
              <a:gd name="connsiteX28" fmla="*/ 1995080 w 2762810"/>
              <a:gd name="connsiteY28" fmla="*/ 0 h 1513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762810" h="1513545">
                <a:moveTo>
                  <a:pt x="1995080" y="0"/>
                </a:moveTo>
                <a:cubicBezTo>
                  <a:pt x="2177730" y="88536"/>
                  <a:pt x="2264496" y="291956"/>
                  <a:pt x="2265101" y="373312"/>
                </a:cubicBezTo>
                <a:cubicBezTo>
                  <a:pt x="2268926" y="436188"/>
                  <a:pt x="2231231" y="457531"/>
                  <a:pt x="2136406" y="472997"/>
                </a:cubicBezTo>
                <a:cubicBezTo>
                  <a:pt x="2129772" y="472568"/>
                  <a:pt x="2123509" y="473342"/>
                  <a:pt x="2117761" y="475361"/>
                </a:cubicBezTo>
                <a:cubicBezTo>
                  <a:pt x="2116790" y="475595"/>
                  <a:pt x="2115756" y="475674"/>
                  <a:pt x="2114714" y="475747"/>
                </a:cubicBezTo>
                <a:lnTo>
                  <a:pt x="2114963" y="476070"/>
                </a:lnTo>
                <a:cubicBezTo>
                  <a:pt x="2101092" y="478526"/>
                  <a:pt x="2088561" y="484372"/>
                  <a:pt x="2077532" y="492974"/>
                </a:cubicBezTo>
                <a:cubicBezTo>
                  <a:pt x="2020344" y="537580"/>
                  <a:pt x="2025209" y="639416"/>
                  <a:pt x="2088398" y="720429"/>
                </a:cubicBezTo>
                <a:cubicBezTo>
                  <a:pt x="2151588" y="801442"/>
                  <a:pt x="2249174" y="830956"/>
                  <a:pt x="2306362" y="786349"/>
                </a:cubicBezTo>
                <a:cubicBezTo>
                  <a:pt x="2316795" y="778212"/>
                  <a:pt x="2325163" y="768170"/>
                  <a:pt x="2330811" y="756130"/>
                </a:cubicBezTo>
                <a:lnTo>
                  <a:pt x="2331099" y="756503"/>
                </a:lnTo>
                <a:cubicBezTo>
                  <a:pt x="2381436" y="639774"/>
                  <a:pt x="2392205" y="613705"/>
                  <a:pt x="2449893" y="628792"/>
                </a:cubicBezTo>
                <a:cubicBezTo>
                  <a:pt x="2654722" y="737096"/>
                  <a:pt x="2755438" y="953104"/>
                  <a:pt x="2762810" y="1061408"/>
                </a:cubicBezTo>
                <a:cubicBezTo>
                  <a:pt x="2377402" y="1343314"/>
                  <a:pt x="1835380" y="1513120"/>
                  <a:pt x="1374912" y="1513545"/>
                </a:cubicBezTo>
                <a:cubicBezTo>
                  <a:pt x="914444" y="1513970"/>
                  <a:pt x="385422" y="1345899"/>
                  <a:pt x="0" y="1063957"/>
                </a:cubicBezTo>
                <a:cubicBezTo>
                  <a:pt x="194241" y="1035271"/>
                  <a:pt x="291890" y="764027"/>
                  <a:pt x="273151" y="676181"/>
                </a:cubicBezTo>
                <a:cubicBezTo>
                  <a:pt x="273083" y="606561"/>
                  <a:pt x="249145" y="604408"/>
                  <a:pt x="115866" y="589714"/>
                </a:cubicBezTo>
                <a:lnTo>
                  <a:pt x="116139" y="589329"/>
                </a:lnTo>
                <a:cubicBezTo>
                  <a:pt x="102972" y="587455"/>
                  <a:pt x="90920" y="582397"/>
                  <a:pt x="80083" y="574806"/>
                </a:cubicBezTo>
                <a:cubicBezTo>
                  <a:pt x="20680" y="533195"/>
                  <a:pt x="20309" y="431244"/>
                  <a:pt x="79256" y="347093"/>
                </a:cubicBezTo>
                <a:cubicBezTo>
                  <a:pt x="138202" y="262942"/>
                  <a:pt x="234144" y="228457"/>
                  <a:pt x="293548" y="270068"/>
                </a:cubicBezTo>
                <a:cubicBezTo>
                  <a:pt x="305003" y="278093"/>
                  <a:pt x="314264" y="288361"/>
                  <a:pt x="320676" y="300905"/>
                </a:cubicBezTo>
                <a:lnTo>
                  <a:pt x="320912" y="300572"/>
                </a:lnTo>
                <a:cubicBezTo>
                  <a:pt x="321287" y="301547"/>
                  <a:pt x="321665" y="302512"/>
                  <a:pt x="322174" y="303372"/>
                </a:cubicBezTo>
                <a:cubicBezTo>
                  <a:pt x="325787" y="308277"/>
                  <a:pt x="328363" y="314038"/>
                  <a:pt x="329896" y="320507"/>
                </a:cubicBezTo>
                <a:cubicBezTo>
                  <a:pt x="372456" y="406627"/>
                  <a:pt x="403903" y="436418"/>
                  <a:pt x="462881" y="414358"/>
                </a:cubicBezTo>
                <a:cubicBezTo>
                  <a:pt x="644810" y="372254"/>
                  <a:pt x="785327" y="152669"/>
                  <a:pt x="760193" y="4075"/>
                </a:cubicBezTo>
                <a:cubicBezTo>
                  <a:pt x="931981" y="131349"/>
                  <a:pt x="1144734" y="205953"/>
                  <a:pt x="1374912" y="205953"/>
                </a:cubicBezTo>
                <a:cubicBezTo>
                  <a:pt x="1607535" y="205953"/>
                  <a:pt x="1822360" y="129756"/>
                  <a:pt x="1995080" y="0"/>
                </a:cubicBezTo>
                <a:close/>
              </a:path>
            </a:pathLst>
          </a:custGeom>
          <a:solidFill>
            <a:srgbClr val="1485BB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254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</a:t>
            </a:r>
          </a:p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b</a:t>
            </a:r>
          </a:p>
        </p:txBody>
      </p:sp>
      <p:sp>
        <p:nvSpPr>
          <p:cNvPr id="111" name="Oval 11"/>
          <p:cNvSpPr/>
          <p:nvPr/>
        </p:nvSpPr>
        <p:spPr>
          <a:xfrm>
            <a:off x="3852051" y="2904849"/>
            <a:ext cx="1664605" cy="2655395"/>
          </a:xfrm>
          <a:custGeom>
            <a:avLst/>
            <a:gdLst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36"/>
              <a:gd name="connsiteY0" fmla="*/ 185 h 2775994"/>
              <a:gd name="connsiteX1" fmla="*/ 824243 w 1737636"/>
              <a:gd name="connsiteY1" fmla="*/ 13910 h 2775994"/>
              <a:gd name="connsiteX2" fmla="*/ 957621 w 1737636"/>
              <a:gd name="connsiteY2" fmla="*/ 198475 h 2775994"/>
              <a:gd name="connsiteX3" fmla="*/ 935507 w 1737636"/>
              <a:gd name="connsiteY3" fmla="*/ 233085 h 2775994"/>
              <a:gd name="connsiteX4" fmla="*/ 935892 w 1737636"/>
              <a:gd name="connsiteY4" fmla="*/ 233219 h 2775994"/>
              <a:gd name="connsiteX5" fmla="*/ 933552 w 1737636"/>
              <a:gd name="connsiteY5" fmla="*/ 235207 h 2775994"/>
              <a:gd name="connsiteX6" fmla="*/ 919227 w 1737636"/>
              <a:gd name="connsiteY6" fmla="*/ 247374 h 2775994"/>
              <a:gd name="connsiteX7" fmla="*/ 857210 w 1737636"/>
              <a:gd name="connsiteY7" fmla="*/ 386801 h 2775994"/>
              <a:gd name="connsiteX8" fmla="*/ 1361972 w 1737636"/>
              <a:gd name="connsiteY8" fmla="*/ 546862 h 2775994"/>
              <a:gd name="connsiteX9" fmla="*/ 1307592 w 1737636"/>
              <a:gd name="connsiteY9" fmla="*/ 877375 h 2775994"/>
              <a:gd name="connsiteX10" fmla="*/ 1737636 w 1737636"/>
              <a:gd name="connsiteY10" fmla="*/ 1719667 h 2775994"/>
              <a:gd name="connsiteX11" fmla="*/ 1441036 w 1737636"/>
              <a:gd name="connsiteY11" fmla="*/ 2127372 h 2775994"/>
              <a:gd name="connsiteX12" fmla="*/ 1304992 w 1737636"/>
              <a:gd name="connsiteY12" fmla="*/ 2034345 h 2775994"/>
              <a:gd name="connsiteX13" fmla="*/ 1297270 w 1737636"/>
              <a:gd name="connsiteY13" fmla="*/ 2017210 h 2775994"/>
              <a:gd name="connsiteX14" fmla="*/ 1296008 w 1737636"/>
              <a:gd name="connsiteY14" fmla="*/ 2014410 h 2775994"/>
              <a:gd name="connsiteX15" fmla="*/ 1295772 w 1737636"/>
              <a:gd name="connsiteY15" fmla="*/ 2014743 h 2775994"/>
              <a:gd name="connsiteX16" fmla="*/ 1268644 w 1737636"/>
              <a:gd name="connsiteY16" fmla="*/ 1983906 h 2775994"/>
              <a:gd name="connsiteX17" fmla="*/ 1054352 w 1737636"/>
              <a:gd name="connsiteY17" fmla="*/ 2060931 h 2775994"/>
              <a:gd name="connsiteX18" fmla="*/ 1055179 w 1737636"/>
              <a:gd name="connsiteY18" fmla="*/ 2288644 h 2775994"/>
              <a:gd name="connsiteX19" fmla="*/ 1091235 w 1737636"/>
              <a:gd name="connsiteY19" fmla="*/ 2303167 h 2775994"/>
              <a:gd name="connsiteX20" fmla="*/ 1090962 w 1737636"/>
              <a:gd name="connsiteY20" fmla="*/ 2303552 h 2775994"/>
              <a:gd name="connsiteX21" fmla="*/ 1248193 w 1737636"/>
              <a:gd name="connsiteY21" fmla="*/ 2392452 h 2775994"/>
              <a:gd name="connsiteX22" fmla="*/ 969172 w 1737636"/>
              <a:gd name="connsiteY22" fmla="*/ 2775994 h 2775994"/>
              <a:gd name="connsiteX23" fmla="*/ 0 w 1737636"/>
              <a:gd name="connsiteY23" fmla="*/ 877375 h 2775994"/>
              <a:gd name="connsiteX24" fmla="*/ 115515 w 1737636"/>
              <a:gd name="connsiteY24" fmla="*/ 151608 h 2775994"/>
              <a:gd name="connsiteX25" fmla="*/ 558792 w 1737636"/>
              <a:gd name="connsiteY25" fmla="*/ 292172 h 2775994"/>
              <a:gd name="connsiteX26" fmla="*/ 601261 w 1737636"/>
              <a:gd name="connsiteY26" fmla="*/ 116305 h 2775994"/>
              <a:gd name="connsiteX27" fmla="*/ 601707 w 1737636"/>
              <a:gd name="connsiteY27" fmla="*/ 116460 h 2775994"/>
              <a:gd name="connsiteX28" fmla="*/ 605672 w 1737636"/>
              <a:gd name="connsiteY28" fmla="*/ 77792 h 2775994"/>
              <a:gd name="connsiteX29" fmla="*/ 752398 w 1737636"/>
              <a:gd name="connsiteY29" fmla="*/ 185 h 2775994"/>
              <a:gd name="connsiteX0" fmla="*/ 752398 w 1737687"/>
              <a:gd name="connsiteY0" fmla="*/ 185 h 2775994"/>
              <a:gd name="connsiteX1" fmla="*/ 824243 w 1737687"/>
              <a:gd name="connsiteY1" fmla="*/ 13910 h 2775994"/>
              <a:gd name="connsiteX2" fmla="*/ 957621 w 1737687"/>
              <a:gd name="connsiteY2" fmla="*/ 198475 h 2775994"/>
              <a:gd name="connsiteX3" fmla="*/ 935507 w 1737687"/>
              <a:gd name="connsiteY3" fmla="*/ 233085 h 2775994"/>
              <a:gd name="connsiteX4" fmla="*/ 935892 w 1737687"/>
              <a:gd name="connsiteY4" fmla="*/ 233219 h 2775994"/>
              <a:gd name="connsiteX5" fmla="*/ 933552 w 1737687"/>
              <a:gd name="connsiteY5" fmla="*/ 235207 h 2775994"/>
              <a:gd name="connsiteX6" fmla="*/ 919227 w 1737687"/>
              <a:gd name="connsiteY6" fmla="*/ 247374 h 2775994"/>
              <a:gd name="connsiteX7" fmla="*/ 857210 w 1737687"/>
              <a:gd name="connsiteY7" fmla="*/ 386801 h 2775994"/>
              <a:gd name="connsiteX8" fmla="*/ 1361972 w 1737687"/>
              <a:gd name="connsiteY8" fmla="*/ 546862 h 2775994"/>
              <a:gd name="connsiteX9" fmla="*/ 1307592 w 1737687"/>
              <a:gd name="connsiteY9" fmla="*/ 877375 h 2775994"/>
              <a:gd name="connsiteX10" fmla="*/ 1737636 w 1737687"/>
              <a:gd name="connsiteY10" fmla="*/ 1719667 h 2775994"/>
              <a:gd name="connsiteX11" fmla="*/ 1441036 w 1737687"/>
              <a:gd name="connsiteY11" fmla="*/ 2127372 h 2775994"/>
              <a:gd name="connsiteX12" fmla="*/ 1304992 w 1737687"/>
              <a:gd name="connsiteY12" fmla="*/ 2034345 h 2775994"/>
              <a:gd name="connsiteX13" fmla="*/ 1297270 w 1737687"/>
              <a:gd name="connsiteY13" fmla="*/ 2017210 h 2775994"/>
              <a:gd name="connsiteX14" fmla="*/ 1296008 w 1737687"/>
              <a:gd name="connsiteY14" fmla="*/ 2014410 h 2775994"/>
              <a:gd name="connsiteX15" fmla="*/ 1295772 w 1737687"/>
              <a:gd name="connsiteY15" fmla="*/ 2014743 h 2775994"/>
              <a:gd name="connsiteX16" fmla="*/ 1268644 w 1737687"/>
              <a:gd name="connsiteY16" fmla="*/ 1983906 h 2775994"/>
              <a:gd name="connsiteX17" fmla="*/ 1054352 w 1737687"/>
              <a:gd name="connsiteY17" fmla="*/ 2060931 h 2775994"/>
              <a:gd name="connsiteX18" fmla="*/ 1055179 w 1737687"/>
              <a:gd name="connsiteY18" fmla="*/ 2288644 h 2775994"/>
              <a:gd name="connsiteX19" fmla="*/ 1091235 w 1737687"/>
              <a:gd name="connsiteY19" fmla="*/ 2303167 h 2775994"/>
              <a:gd name="connsiteX20" fmla="*/ 1090962 w 1737687"/>
              <a:gd name="connsiteY20" fmla="*/ 2303552 h 2775994"/>
              <a:gd name="connsiteX21" fmla="*/ 1248193 w 1737687"/>
              <a:gd name="connsiteY21" fmla="*/ 2392452 h 2775994"/>
              <a:gd name="connsiteX22" fmla="*/ 969172 w 1737687"/>
              <a:gd name="connsiteY22" fmla="*/ 2775994 h 2775994"/>
              <a:gd name="connsiteX23" fmla="*/ 0 w 1737687"/>
              <a:gd name="connsiteY23" fmla="*/ 877375 h 2775994"/>
              <a:gd name="connsiteX24" fmla="*/ 115515 w 1737687"/>
              <a:gd name="connsiteY24" fmla="*/ 151608 h 2775994"/>
              <a:gd name="connsiteX25" fmla="*/ 558792 w 1737687"/>
              <a:gd name="connsiteY25" fmla="*/ 292172 h 2775994"/>
              <a:gd name="connsiteX26" fmla="*/ 601261 w 1737687"/>
              <a:gd name="connsiteY26" fmla="*/ 116305 h 2775994"/>
              <a:gd name="connsiteX27" fmla="*/ 601707 w 1737687"/>
              <a:gd name="connsiteY27" fmla="*/ 116460 h 2775994"/>
              <a:gd name="connsiteX28" fmla="*/ 605672 w 1737687"/>
              <a:gd name="connsiteY28" fmla="*/ 77792 h 2775994"/>
              <a:gd name="connsiteX29" fmla="*/ 752398 w 1737687"/>
              <a:gd name="connsiteY29" fmla="*/ 185 h 2775994"/>
              <a:gd name="connsiteX0" fmla="*/ 752398 w 1741107"/>
              <a:gd name="connsiteY0" fmla="*/ 185 h 2775994"/>
              <a:gd name="connsiteX1" fmla="*/ 824243 w 1741107"/>
              <a:gd name="connsiteY1" fmla="*/ 13910 h 2775994"/>
              <a:gd name="connsiteX2" fmla="*/ 957621 w 1741107"/>
              <a:gd name="connsiteY2" fmla="*/ 198475 h 2775994"/>
              <a:gd name="connsiteX3" fmla="*/ 935507 w 1741107"/>
              <a:gd name="connsiteY3" fmla="*/ 233085 h 2775994"/>
              <a:gd name="connsiteX4" fmla="*/ 935892 w 1741107"/>
              <a:gd name="connsiteY4" fmla="*/ 233219 h 2775994"/>
              <a:gd name="connsiteX5" fmla="*/ 933552 w 1741107"/>
              <a:gd name="connsiteY5" fmla="*/ 235207 h 2775994"/>
              <a:gd name="connsiteX6" fmla="*/ 919227 w 1741107"/>
              <a:gd name="connsiteY6" fmla="*/ 247374 h 2775994"/>
              <a:gd name="connsiteX7" fmla="*/ 857210 w 1741107"/>
              <a:gd name="connsiteY7" fmla="*/ 386801 h 2775994"/>
              <a:gd name="connsiteX8" fmla="*/ 1361972 w 1741107"/>
              <a:gd name="connsiteY8" fmla="*/ 546862 h 2775994"/>
              <a:gd name="connsiteX9" fmla="*/ 1307592 w 1741107"/>
              <a:gd name="connsiteY9" fmla="*/ 877375 h 2775994"/>
              <a:gd name="connsiteX10" fmla="*/ 1737636 w 1741107"/>
              <a:gd name="connsiteY10" fmla="*/ 1719667 h 2775994"/>
              <a:gd name="connsiteX11" fmla="*/ 1441036 w 1741107"/>
              <a:gd name="connsiteY11" fmla="*/ 2127372 h 2775994"/>
              <a:gd name="connsiteX12" fmla="*/ 1304992 w 1741107"/>
              <a:gd name="connsiteY12" fmla="*/ 2034345 h 2775994"/>
              <a:gd name="connsiteX13" fmla="*/ 1297270 w 1741107"/>
              <a:gd name="connsiteY13" fmla="*/ 2017210 h 2775994"/>
              <a:gd name="connsiteX14" fmla="*/ 1296008 w 1741107"/>
              <a:gd name="connsiteY14" fmla="*/ 2014410 h 2775994"/>
              <a:gd name="connsiteX15" fmla="*/ 1295772 w 1741107"/>
              <a:gd name="connsiteY15" fmla="*/ 2014743 h 2775994"/>
              <a:gd name="connsiteX16" fmla="*/ 1268644 w 1741107"/>
              <a:gd name="connsiteY16" fmla="*/ 1983906 h 2775994"/>
              <a:gd name="connsiteX17" fmla="*/ 1054352 w 1741107"/>
              <a:gd name="connsiteY17" fmla="*/ 2060931 h 2775994"/>
              <a:gd name="connsiteX18" fmla="*/ 1055179 w 1741107"/>
              <a:gd name="connsiteY18" fmla="*/ 2288644 h 2775994"/>
              <a:gd name="connsiteX19" fmla="*/ 1091235 w 1741107"/>
              <a:gd name="connsiteY19" fmla="*/ 2303167 h 2775994"/>
              <a:gd name="connsiteX20" fmla="*/ 1090962 w 1741107"/>
              <a:gd name="connsiteY20" fmla="*/ 2303552 h 2775994"/>
              <a:gd name="connsiteX21" fmla="*/ 1248193 w 1741107"/>
              <a:gd name="connsiteY21" fmla="*/ 2392452 h 2775994"/>
              <a:gd name="connsiteX22" fmla="*/ 969172 w 1741107"/>
              <a:gd name="connsiteY22" fmla="*/ 2775994 h 2775994"/>
              <a:gd name="connsiteX23" fmla="*/ 0 w 1741107"/>
              <a:gd name="connsiteY23" fmla="*/ 877375 h 2775994"/>
              <a:gd name="connsiteX24" fmla="*/ 115515 w 1741107"/>
              <a:gd name="connsiteY24" fmla="*/ 151608 h 2775994"/>
              <a:gd name="connsiteX25" fmla="*/ 558792 w 1741107"/>
              <a:gd name="connsiteY25" fmla="*/ 292172 h 2775994"/>
              <a:gd name="connsiteX26" fmla="*/ 601261 w 1741107"/>
              <a:gd name="connsiteY26" fmla="*/ 116305 h 2775994"/>
              <a:gd name="connsiteX27" fmla="*/ 601707 w 1741107"/>
              <a:gd name="connsiteY27" fmla="*/ 116460 h 2775994"/>
              <a:gd name="connsiteX28" fmla="*/ 605672 w 1741107"/>
              <a:gd name="connsiteY28" fmla="*/ 77792 h 2775994"/>
              <a:gd name="connsiteX29" fmla="*/ 752398 w 1741107"/>
              <a:gd name="connsiteY29" fmla="*/ 185 h 2775994"/>
              <a:gd name="connsiteX0" fmla="*/ 752398 w 1740275"/>
              <a:gd name="connsiteY0" fmla="*/ 185 h 2775994"/>
              <a:gd name="connsiteX1" fmla="*/ 824243 w 1740275"/>
              <a:gd name="connsiteY1" fmla="*/ 13910 h 2775994"/>
              <a:gd name="connsiteX2" fmla="*/ 957621 w 1740275"/>
              <a:gd name="connsiteY2" fmla="*/ 198475 h 2775994"/>
              <a:gd name="connsiteX3" fmla="*/ 935507 w 1740275"/>
              <a:gd name="connsiteY3" fmla="*/ 233085 h 2775994"/>
              <a:gd name="connsiteX4" fmla="*/ 935892 w 1740275"/>
              <a:gd name="connsiteY4" fmla="*/ 233219 h 2775994"/>
              <a:gd name="connsiteX5" fmla="*/ 933552 w 1740275"/>
              <a:gd name="connsiteY5" fmla="*/ 235207 h 2775994"/>
              <a:gd name="connsiteX6" fmla="*/ 919227 w 1740275"/>
              <a:gd name="connsiteY6" fmla="*/ 247374 h 2775994"/>
              <a:gd name="connsiteX7" fmla="*/ 857210 w 1740275"/>
              <a:gd name="connsiteY7" fmla="*/ 386801 h 2775994"/>
              <a:gd name="connsiteX8" fmla="*/ 1361972 w 1740275"/>
              <a:gd name="connsiteY8" fmla="*/ 546862 h 2775994"/>
              <a:gd name="connsiteX9" fmla="*/ 1307592 w 1740275"/>
              <a:gd name="connsiteY9" fmla="*/ 877375 h 2775994"/>
              <a:gd name="connsiteX10" fmla="*/ 1737636 w 1740275"/>
              <a:gd name="connsiteY10" fmla="*/ 1719667 h 2775994"/>
              <a:gd name="connsiteX11" fmla="*/ 1441036 w 1740275"/>
              <a:gd name="connsiteY11" fmla="*/ 2127372 h 2775994"/>
              <a:gd name="connsiteX12" fmla="*/ 1304992 w 1740275"/>
              <a:gd name="connsiteY12" fmla="*/ 2034345 h 2775994"/>
              <a:gd name="connsiteX13" fmla="*/ 1297270 w 1740275"/>
              <a:gd name="connsiteY13" fmla="*/ 2017210 h 2775994"/>
              <a:gd name="connsiteX14" fmla="*/ 1296008 w 1740275"/>
              <a:gd name="connsiteY14" fmla="*/ 2014410 h 2775994"/>
              <a:gd name="connsiteX15" fmla="*/ 1295772 w 1740275"/>
              <a:gd name="connsiteY15" fmla="*/ 2014743 h 2775994"/>
              <a:gd name="connsiteX16" fmla="*/ 1268644 w 1740275"/>
              <a:gd name="connsiteY16" fmla="*/ 1983906 h 2775994"/>
              <a:gd name="connsiteX17" fmla="*/ 1054352 w 1740275"/>
              <a:gd name="connsiteY17" fmla="*/ 2060931 h 2775994"/>
              <a:gd name="connsiteX18" fmla="*/ 1055179 w 1740275"/>
              <a:gd name="connsiteY18" fmla="*/ 2288644 h 2775994"/>
              <a:gd name="connsiteX19" fmla="*/ 1091235 w 1740275"/>
              <a:gd name="connsiteY19" fmla="*/ 2303167 h 2775994"/>
              <a:gd name="connsiteX20" fmla="*/ 1090962 w 1740275"/>
              <a:gd name="connsiteY20" fmla="*/ 2303552 h 2775994"/>
              <a:gd name="connsiteX21" fmla="*/ 1248193 w 1740275"/>
              <a:gd name="connsiteY21" fmla="*/ 2392452 h 2775994"/>
              <a:gd name="connsiteX22" fmla="*/ 969172 w 1740275"/>
              <a:gd name="connsiteY22" fmla="*/ 2775994 h 2775994"/>
              <a:gd name="connsiteX23" fmla="*/ 0 w 1740275"/>
              <a:gd name="connsiteY23" fmla="*/ 877375 h 2775994"/>
              <a:gd name="connsiteX24" fmla="*/ 115515 w 1740275"/>
              <a:gd name="connsiteY24" fmla="*/ 151608 h 2775994"/>
              <a:gd name="connsiteX25" fmla="*/ 558792 w 1740275"/>
              <a:gd name="connsiteY25" fmla="*/ 292172 h 2775994"/>
              <a:gd name="connsiteX26" fmla="*/ 601261 w 1740275"/>
              <a:gd name="connsiteY26" fmla="*/ 116305 h 2775994"/>
              <a:gd name="connsiteX27" fmla="*/ 601707 w 1740275"/>
              <a:gd name="connsiteY27" fmla="*/ 116460 h 2775994"/>
              <a:gd name="connsiteX28" fmla="*/ 605672 w 1740275"/>
              <a:gd name="connsiteY28" fmla="*/ 77792 h 2775994"/>
              <a:gd name="connsiteX29" fmla="*/ 752398 w 1740275"/>
              <a:gd name="connsiteY29" fmla="*/ 185 h 2775994"/>
              <a:gd name="connsiteX0" fmla="*/ 752398 w 1740907"/>
              <a:gd name="connsiteY0" fmla="*/ 185 h 2775994"/>
              <a:gd name="connsiteX1" fmla="*/ 824243 w 1740907"/>
              <a:gd name="connsiteY1" fmla="*/ 13910 h 2775994"/>
              <a:gd name="connsiteX2" fmla="*/ 957621 w 1740907"/>
              <a:gd name="connsiteY2" fmla="*/ 198475 h 2775994"/>
              <a:gd name="connsiteX3" fmla="*/ 935507 w 1740907"/>
              <a:gd name="connsiteY3" fmla="*/ 233085 h 2775994"/>
              <a:gd name="connsiteX4" fmla="*/ 935892 w 1740907"/>
              <a:gd name="connsiteY4" fmla="*/ 233219 h 2775994"/>
              <a:gd name="connsiteX5" fmla="*/ 933552 w 1740907"/>
              <a:gd name="connsiteY5" fmla="*/ 235207 h 2775994"/>
              <a:gd name="connsiteX6" fmla="*/ 919227 w 1740907"/>
              <a:gd name="connsiteY6" fmla="*/ 247374 h 2775994"/>
              <a:gd name="connsiteX7" fmla="*/ 857210 w 1740907"/>
              <a:gd name="connsiteY7" fmla="*/ 386801 h 2775994"/>
              <a:gd name="connsiteX8" fmla="*/ 1361972 w 1740907"/>
              <a:gd name="connsiteY8" fmla="*/ 546862 h 2775994"/>
              <a:gd name="connsiteX9" fmla="*/ 1307592 w 1740907"/>
              <a:gd name="connsiteY9" fmla="*/ 877375 h 2775994"/>
              <a:gd name="connsiteX10" fmla="*/ 1737636 w 1740907"/>
              <a:gd name="connsiteY10" fmla="*/ 1719667 h 2775994"/>
              <a:gd name="connsiteX11" fmla="*/ 1441036 w 1740907"/>
              <a:gd name="connsiteY11" fmla="*/ 2127372 h 2775994"/>
              <a:gd name="connsiteX12" fmla="*/ 1304992 w 1740907"/>
              <a:gd name="connsiteY12" fmla="*/ 2034345 h 2775994"/>
              <a:gd name="connsiteX13" fmla="*/ 1297270 w 1740907"/>
              <a:gd name="connsiteY13" fmla="*/ 2017210 h 2775994"/>
              <a:gd name="connsiteX14" fmla="*/ 1296008 w 1740907"/>
              <a:gd name="connsiteY14" fmla="*/ 2014410 h 2775994"/>
              <a:gd name="connsiteX15" fmla="*/ 1295772 w 1740907"/>
              <a:gd name="connsiteY15" fmla="*/ 2014743 h 2775994"/>
              <a:gd name="connsiteX16" fmla="*/ 1268644 w 1740907"/>
              <a:gd name="connsiteY16" fmla="*/ 1983906 h 2775994"/>
              <a:gd name="connsiteX17" fmla="*/ 1054352 w 1740907"/>
              <a:gd name="connsiteY17" fmla="*/ 2060931 h 2775994"/>
              <a:gd name="connsiteX18" fmla="*/ 1055179 w 1740907"/>
              <a:gd name="connsiteY18" fmla="*/ 2288644 h 2775994"/>
              <a:gd name="connsiteX19" fmla="*/ 1091235 w 1740907"/>
              <a:gd name="connsiteY19" fmla="*/ 2303167 h 2775994"/>
              <a:gd name="connsiteX20" fmla="*/ 1090962 w 1740907"/>
              <a:gd name="connsiteY20" fmla="*/ 2303552 h 2775994"/>
              <a:gd name="connsiteX21" fmla="*/ 1248193 w 1740907"/>
              <a:gd name="connsiteY21" fmla="*/ 2392452 h 2775994"/>
              <a:gd name="connsiteX22" fmla="*/ 969172 w 1740907"/>
              <a:gd name="connsiteY22" fmla="*/ 2775994 h 2775994"/>
              <a:gd name="connsiteX23" fmla="*/ 0 w 1740907"/>
              <a:gd name="connsiteY23" fmla="*/ 877375 h 2775994"/>
              <a:gd name="connsiteX24" fmla="*/ 115515 w 1740907"/>
              <a:gd name="connsiteY24" fmla="*/ 151608 h 2775994"/>
              <a:gd name="connsiteX25" fmla="*/ 558792 w 1740907"/>
              <a:gd name="connsiteY25" fmla="*/ 292172 h 2775994"/>
              <a:gd name="connsiteX26" fmla="*/ 601261 w 1740907"/>
              <a:gd name="connsiteY26" fmla="*/ 116305 h 2775994"/>
              <a:gd name="connsiteX27" fmla="*/ 601707 w 1740907"/>
              <a:gd name="connsiteY27" fmla="*/ 116460 h 2775994"/>
              <a:gd name="connsiteX28" fmla="*/ 605672 w 1740907"/>
              <a:gd name="connsiteY28" fmla="*/ 77792 h 2775994"/>
              <a:gd name="connsiteX29" fmla="*/ 752398 w 1740907"/>
              <a:gd name="connsiteY29" fmla="*/ 185 h 2775994"/>
              <a:gd name="connsiteX0" fmla="*/ 752398 w 1740150"/>
              <a:gd name="connsiteY0" fmla="*/ 185 h 2775994"/>
              <a:gd name="connsiteX1" fmla="*/ 824243 w 1740150"/>
              <a:gd name="connsiteY1" fmla="*/ 13910 h 2775994"/>
              <a:gd name="connsiteX2" fmla="*/ 957621 w 1740150"/>
              <a:gd name="connsiteY2" fmla="*/ 198475 h 2775994"/>
              <a:gd name="connsiteX3" fmla="*/ 935507 w 1740150"/>
              <a:gd name="connsiteY3" fmla="*/ 233085 h 2775994"/>
              <a:gd name="connsiteX4" fmla="*/ 935892 w 1740150"/>
              <a:gd name="connsiteY4" fmla="*/ 233219 h 2775994"/>
              <a:gd name="connsiteX5" fmla="*/ 933552 w 1740150"/>
              <a:gd name="connsiteY5" fmla="*/ 235207 h 2775994"/>
              <a:gd name="connsiteX6" fmla="*/ 919227 w 1740150"/>
              <a:gd name="connsiteY6" fmla="*/ 247374 h 2775994"/>
              <a:gd name="connsiteX7" fmla="*/ 857210 w 1740150"/>
              <a:gd name="connsiteY7" fmla="*/ 386801 h 2775994"/>
              <a:gd name="connsiteX8" fmla="*/ 1361972 w 1740150"/>
              <a:gd name="connsiteY8" fmla="*/ 546862 h 2775994"/>
              <a:gd name="connsiteX9" fmla="*/ 1307592 w 1740150"/>
              <a:gd name="connsiteY9" fmla="*/ 877375 h 2775994"/>
              <a:gd name="connsiteX10" fmla="*/ 1737636 w 1740150"/>
              <a:gd name="connsiteY10" fmla="*/ 1719667 h 2775994"/>
              <a:gd name="connsiteX11" fmla="*/ 1441036 w 1740150"/>
              <a:gd name="connsiteY11" fmla="*/ 2127372 h 2775994"/>
              <a:gd name="connsiteX12" fmla="*/ 1304992 w 1740150"/>
              <a:gd name="connsiteY12" fmla="*/ 2034345 h 2775994"/>
              <a:gd name="connsiteX13" fmla="*/ 1297270 w 1740150"/>
              <a:gd name="connsiteY13" fmla="*/ 2017210 h 2775994"/>
              <a:gd name="connsiteX14" fmla="*/ 1296008 w 1740150"/>
              <a:gd name="connsiteY14" fmla="*/ 2014410 h 2775994"/>
              <a:gd name="connsiteX15" fmla="*/ 1295772 w 1740150"/>
              <a:gd name="connsiteY15" fmla="*/ 2014743 h 2775994"/>
              <a:gd name="connsiteX16" fmla="*/ 1268644 w 1740150"/>
              <a:gd name="connsiteY16" fmla="*/ 1983906 h 2775994"/>
              <a:gd name="connsiteX17" fmla="*/ 1054352 w 1740150"/>
              <a:gd name="connsiteY17" fmla="*/ 2060931 h 2775994"/>
              <a:gd name="connsiteX18" fmla="*/ 1055179 w 1740150"/>
              <a:gd name="connsiteY18" fmla="*/ 2288644 h 2775994"/>
              <a:gd name="connsiteX19" fmla="*/ 1091235 w 1740150"/>
              <a:gd name="connsiteY19" fmla="*/ 2303167 h 2775994"/>
              <a:gd name="connsiteX20" fmla="*/ 1090962 w 1740150"/>
              <a:gd name="connsiteY20" fmla="*/ 2303552 h 2775994"/>
              <a:gd name="connsiteX21" fmla="*/ 1248193 w 1740150"/>
              <a:gd name="connsiteY21" fmla="*/ 2392452 h 2775994"/>
              <a:gd name="connsiteX22" fmla="*/ 969172 w 1740150"/>
              <a:gd name="connsiteY22" fmla="*/ 2775994 h 2775994"/>
              <a:gd name="connsiteX23" fmla="*/ 0 w 1740150"/>
              <a:gd name="connsiteY23" fmla="*/ 877375 h 2775994"/>
              <a:gd name="connsiteX24" fmla="*/ 115515 w 1740150"/>
              <a:gd name="connsiteY24" fmla="*/ 151608 h 2775994"/>
              <a:gd name="connsiteX25" fmla="*/ 558792 w 1740150"/>
              <a:gd name="connsiteY25" fmla="*/ 292172 h 2775994"/>
              <a:gd name="connsiteX26" fmla="*/ 601261 w 1740150"/>
              <a:gd name="connsiteY26" fmla="*/ 116305 h 2775994"/>
              <a:gd name="connsiteX27" fmla="*/ 601707 w 1740150"/>
              <a:gd name="connsiteY27" fmla="*/ 116460 h 2775994"/>
              <a:gd name="connsiteX28" fmla="*/ 605672 w 1740150"/>
              <a:gd name="connsiteY28" fmla="*/ 77792 h 2775994"/>
              <a:gd name="connsiteX29" fmla="*/ 752398 w 1740150"/>
              <a:gd name="connsiteY29" fmla="*/ 185 h 2775994"/>
              <a:gd name="connsiteX0" fmla="*/ 752398 w 1740150"/>
              <a:gd name="connsiteY0" fmla="*/ 185 h 2783125"/>
              <a:gd name="connsiteX1" fmla="*/ 824243 w 1740150"/>
              <a:gd name="connsiteY1" fmla="*/ 13910 h 2783125"/>
              <a:gd name="connsiteX2" fmla="*/ 957621 w 1740150"/>
              <a:gd name="connsiteY2" fmla="*/ 198475 h 2783125"/>
              <a:gd name="connsiteX3" fmla="*/ 935507 w 1740150"/>
              <a:gd name="connsiteY3" fmla="*/ 233085 h 2783125"/>
              <a:gd name="connsiteX4" fmla="*/ 935892 w 1740150"/>
              <a:gd name="connsiteY4" fmla="*/ 233219 h 2783125"/>
              <a:gd name="connsiteX5" fmla="*/ 933552 w 1740150"/>
              <a:gd name="connsiteY5" fmla="*/ 235207 h 2783125"/>
              <a:gd name="connsiteX6" fmla="*/ 919227 w 1740150"/>
              <a:gd name="connsiteY6" fmla="*/ 247374 h 2783125"/>
              <a:gd name="connsiteX7" fmla="*/ 857210 w 1740150"/>
              <a:gd name="connsiteY7" fmla="*/ 386801 h 2783125"/>
              <a:gd name="connsiteX8" fmla="*/ 1361972 w 1740150"/>
              <a:gd name="connsiteY8" fmla="*/ 546862 h 2783125"/>
              <a:gd name="connsiteX9" fmla="*/ 1307592 w 1740150"/>
              <a:gd name="connsiteY9" fmla="*/ 877375 h 2783125"/>
              <a:gd name="connsiteX10" fmla="*/ 1737636 w 1740150"/>
              <a:gd name="connsiteY10" fmla="*/ 1719667 h 2783125"/>
              <a:gd name="connsiteX11" fmla="*/ 1441036 w 1740150"/>
              <a:gd name="connsiteY11" fmla="*/ 2127372 h 2783125"/>
              <a:gd name="connsiteX12" fmla="*/ 1304992 w 1740150"/>
              <a:gd name="connsiteY12" fmla="*/ 2034345 h 2783125"/>
              <a:gd name="connsiteX13" fmla="*/ 1297270 w 1740150"/>
              <a:gd name="connsiteY13" fmla="*/ 2017210 h 2783125"/>
              <a:gd name="connsiteX14" fmla="*/ 1296008 w 1740150"/>
              <a:gd name="connsiteY14" fmla="*/ 2014410 h 2783125"/>
              <a:gd name="connsiteX15" fmla="*/ 1295772 w 1740150"/>
              <a:gd name="connsiteY15" fmla="*/ 2014743 h 2783125"/>
              <a:gd name="connsiteX16" fmla="*/ 1268644 w 1740150"/>
              <a:gd name="connsiteY16" fmla="*/ 1983906 h 2783125"/>
              <a:gd name="connsiteX17" fmla="*/ 1054352 w 1740150"/>
              <a:gd name="connsiteY17" fmla="*/ 2060931 h 2783125"/>
              <a:gd name="connsiteX18" fmla="*/ 1055179 w 1740150"/>
              <a:gd name="connsiteY18" fmla="*/ 2288644 h 2783125"/>
              <a:gd name="connsiteX19" fmla="*/ 1091235 w 1740150"/>
              <a:gd name="connsiteY19" fmla="*/ 2303167 h 2783125"/>
              <a:gd name="connsiteX20" fmla="*/ 1090962 w 1740150"/>
              <a:gd name="connsiteY20" fmla="*/ 2303552 h 2783125"/>
              <a:gd name="connsiteX21" fmla="*/ 1248193 w 1740150"/>
              <a:gd name="connsiteY21" fmla="*/ 2392452 h 2783125"/>
              <a:gd name="connsiteX22" fmla="*/ 969172 w 1740150"/>
              <a:gd name="connsiteY22" fmla="*/ 2775994 h 2783125"/>
              <a:gd name="connsiteX23" fmla="*/ 0 w 1740150"/>
              <a:gd name="connsiteY23" fmla="*/ 877375 h 2783125"/>
              <a:gd name="connsiteX24" fmla="*/ 115515 w 1740150"/>
              <a:gd name="connsiteY24" fmla="*/ 151608 h 2783125"/>
              <a:gd name="connsiteX25" fmla="*/ 558792 w 1740150"/>
              <a:gd name="connsiteY25" fmla="*/ 292172 h 2783125"/>
              <a:gd name="connsiteX26" fmla="*/ 601261 w 1740150"/>
              <a:gd name="connsiteY26" fmla="*/ 116305 h 2783125"/>
              <a:gd name="connsiteX27" fmla="*/ 601707 w 1740150"/>
              <a:gd name="connsiteY27" fmla="*/ 116460 h 2783125"/>
              <a:gd name="connsiteX28" fmla="*/ 605672 w 1740150"/>
              <a:gd name="connsiteY28" fmla="*/ 77792 h 2783125"/>
              <a:gd name="connsiteX29" fmla="*/ 752398 w 1740150"/>
              <a:gd name="connsiteY29" fmla="*/ 185 h 2783125"/>
              <a:gd name="connsiteX0" fmla="*/ 752398 w 1740150"/>
              <a:gd name="connsiteY0" fmla="*/ 185 h 2779717"/>
              <a:gd name="connsiteX1" fmla="*/ 824243 w 1740150"/>
              <a:gd name="connsiteY1" fmla="*/ 13910 h 2779717"/>
              <a:gd name="connsiteX2" fmla="*/ 957621 w 1740150"/>
              <a:gd name="connsiteY2" fmla="*/ 198475 h 2779717"/>
              <a:gd name="connsiteX3" fmla="*/ 935507 w 1740150"/>
              <a:gd name="connsiteY3" fmla="*/ 233085 h 2779717"/>
              <a:gd name="connsiteX4" fmla="*/ 935892 w 1740150"/>
              <a:gd name="connsiteY4" fmla="*/ 233219 h 2779717"/>
              <a:gd name="connsiteX5" fmla="*/ 933552 w 1740150"/>
              <a:gd name="connsiteY5" fmla="*/ 235207 h 2779717"/>
              <a:gd name="connsiteX6" fmla="*/ 919227 w 1740150"/>
              <a:gd name="connsiteY6" fmla="*/ 247374 h 2779717"/>
              <a:gd name="connsiteX7" fmla="*/ 857210 w 1740150"/>
              <a:gd name="connsiteY7" fmla="*/ 386801 h 2779717"/>
              <a:gd name="connsiteX8" fmla="*/ 1361972 w 1740150"/>
              <a:gd name="connsiteY8" fmla="*/ 546862 h 2779717"/>
              <a:gd name="connsiteX9" fmla="*/ 1307592 w 1740150"/>
              <a:gd name="connsiteY9" fmla="*/ 877375 h 2779717"/>
              <a:gd name="connsiteX10" fmla="*/ 1737636 w 1740150"/>
              <a:gd name="connsiteY10" fmla="*/ 1719667 h 2779717"/>
              <a:gd name="connsiteX11" fmla="*/ 1441036 w 1740150"/>
              <a:gd name="connsiteY11" fmla="*/ 2127372 h 2779717"/>
              <a:gd name="connsiteX12" fmla="*/ 1304992 w 1740150"/>
              <a:gd name="connsiteY12" fmla="*/ 2034345 h 2779717"/>
              <a:gd name="connsiteX13" fmla="*/ 1297270 w 1740150"/>
              <a:gd name="connsiteY13" fmla="*/ 2017210 h 2779717"/>
              <a:gd name="connsiteX14" fmla="*/ 1296008 w 1740150"/>
              <a:gd name="connsiteY14" fmla="*/ 2014410 h 2779717"/>
              <a:gd name="connsiteX15" fmla="*/ 1295772 w 1740150"/>
              <a:gd name="connsiteY15" fmla="*/ 2014743 h 2779717"/>
              <a:gd name="connsiteX16" fmla="*/ 1268644 w 1740150"/>
              <a:gd name="connsiteY16" fmla="*/ 1983906 h 2779717"/>
              <a:gd name="connsiteX17" fmla="*/ 1054352 w 1740150"/>
              <a:gd name="connsiteY17" fmla="*/ 2060931 h 2779717"/>
              <a:gd name="connsiteX18" fmla="*/ 1055179 w 1740150"/>
              <a:gd name="connsiteY18" fmla="*/ 2288644 h 2779717"/>
              <a:gd name="connsiteX19" fmla="*/ 1091235 w 1740150"/>
              <a:gd name="connsiteY19" fmla="*/ 2303167 h 2779717"/>
              <a:gd name="connsiteX20" fmla="*/ 1090962 w 1740150"/>
              <a:gd name="connsiteY20" fmla="*/ 2303552 h 2779717"/>
              <a:gd name="connsiteX21" fmla="*/ 1248193 w 1740150"/>
              <a:gd name="connsiteY21" fmla="*/ 2392452 h 2779717"/>
              <a:gd name="connsiteX22" fmla="*/ 969172 w 1740150"/>
              <a:gd name="connsiteY22" fmla="*/ 2775994 h 2779717"/>
              <a:gd name="connsiteX23" fmla="*/ 0 w 1740150"/>
              <a:gd name="connsiteY23" fmla="*/ 877375 h 2779717"/>
              <a:gd name="connsiteX24" fmla="*/ 115515 w 1740150"/>
              <a:gd name="connsiteY24" fmla="*/ 151608 h 2779717"/>
              <a:gd name="connsiteX25" fmla="*/ 558792 w 1740150"/>
              <a:gd name="connsiteY25" fmla="*/ 292172 h 2779717"/>
              <a:gd name="connsiteX26" fmla="*/ 601261 w 1740150"/>
              <a:gd name="connsiteY26" fmla="*/ 116305 h 2779717"/>
              <a:gd name="connsiteX27" fmla="*/ 601707 w 1740150"/>
              <a:gd name="connsiteY27" fmla="*/ 116460 h 2779717"/>
              <a:gd name="connsiteX28" fmla="*/ 605672 w 1740150"/>
              <a:gd name="connsiteY28" fmla="*/ 77792 h 2779717"/>
              <a:gd name="connsiteX29" fmla="*/ 752398 w 1740150"/>
              <a:gd name="connsiteY29" fmla="*/ 185 h 2779717"/>
              <a:gd name="connsiteX0" fmla="*/ 752398 w 1740150"/>
              <a:gd name="connsiteY0" fmla="*/ 185 h 2776207"/>
              <a:gd name="connsiteX1" fmla="*/ 824243 w 1740150"/>
              <a:gd name="connsiteY1" fmla="*/ 13910 h 2776207"/>
              <a:gd name="connsiteX2" fmla="*/ 957621 w 1740150"/>
              <a:gd name="connsiteY2" fmla="*/ 198475 h 2776207"/>
              <a:gd name="connsiteX3" fmla="*/ 935507 w 1740150"/>
              <a:gd name="connsiteY3" fmla="*/ 233085 h 2776207"/>
              <a:gd name="connsiteX4" fmla="*/ 935892 w 1740150"/>
              <a:gd name="connsiteY4" fmla="*/ 233219 h 2776207"/>
              <a:gd name="connsiteX5" fmla="*/ 933552 w 1740150"/>
              <a:gd name="connsiteY5" fmla="*/ 235207 h 2776207"/>
              <a:gd name="connsiteX6" fmla="*/ 919227 w 1740150"/>
              <a:gd name="connsiteY6" fmla="*/ 247374 h 2776207"/>
              <a:gd name="connsiteX7" fmla="*/ 857210 w 1740150"/>
              <a:gd name="connsiteY7" fmla="*/ 386801 h 2776207"/>
              <a:gd name="connsiteX8" fmla="*/ 1361972 w 1740150"/>
              <a:gd name="connsiteY8" fmla="*/ 546862 h 2776207"/>
              <a:gd name="connsiteX9" fmla="*/ 1307592 w 1740150"/>
              <a:gd name="connsiteY9" fmla="*/ 877375 h 2776207"/>
              <a:gd name="connsiteX10" fmla="*/ 1737636 w 1740150"/>
              <a:gd name="connsiteY10" fmla="*/ 1719667 h 2776207"/>
              <a:gd name="connsiteX11" fmla="*/ 1441036 w 1740150"/>
              <a:gd name="connsiteY11" fmla="*/ 2127372 h 2776207"/>
              <a:gd name="connsiteX12" fmla="*/ 1304992 w 1740150"/>
              <a:gd name="connsiteY12" fmla="*/ 2034345 h 2776207"/>
              <a:gd name="connsiteX13" fmla="*/ 1297270 w 1740150"/>
              <a:gd name="connsiteY13" fmla="*/ 2017210 h 2776207"/>
              <a:gd name="connsiteX14" fmla="*/ 1296008 w 1740150"/>
              <a:gd name="connsiteY14" fmla="*/ 2014410 h 2776207"/>
              <a:gd name="connsiteX15" fmla="*/ 1295772 w 1740150"/>
              <a:gd name="connsiteY15" fmla="*/ 2014743 h 2776207"/>
              <a:gd name="connsiteX16" fmla="*/ 1268644 w 1740150"/>
              <a:gd name="connsiteY16" fmla="*/ 1983906 h 2776207"/>
              <a:gd name="connsiteX17" fmla="*/ 1054352 w 1740150"/>
              <a:gd name="connsiteY17" fmla="*/ 2060931 h 2776207"/>
              <a:gd name="connsiteX18" fmla="*/ 1055179 w 1740150"/>
              <a:gd name="connsiteY18" fmla="*/ 2288644 h 2776207"/>
              <a:gd name="connsiteX19" fmla="*/ 1091235 w 1740150"/>
              <a:gd name="connsiteY19" fmla="*/ 2303167 h 2776207"/>
              <a:gd name="connsiteX20" fmla="*/ 1090962 w 1740150"/>
              <a:gd name="connsiteY20" fmla="*/ 2303552 h 2776207"/>
              <a:gd name="connsiteX21" fmla="*/ 1248193 w 1740150"/>
              <a:gd name="connsiteY21" fmla="*/ 2392452 h 2776207"/>
              <a:gd name="connsiteX22" fmla="*/ 969172 w 1740150"/>
              <a:gd name="connsiteY22" fmla="*/ 2775994 h 2776207"/>
              <a:gd name="connsiteX23" fmla="*/ 0 w 1740150"/>
              <a:gd name="connsiteY23" fmla="*/ 877375 h 2776207"/>
              <a:gd name="connsiteX24" fmla="*/ 115515 w 1740150"/>
              <a:gd name="connsiteY24" fmla="*/ 151608 h 2776207"/>
              <a:gd name="connsiteX25" fmla="*/ 558792 w 1740150"/>
              <a:gd name="connsiteY25" fmla="*/ 292172 h 2776207"/>
              <a:gd name="connsiteX26" fmla="*/ 601261 w 1740150"/>
              <a:gd name="connsiteY26" fmla="*/ 116305 h 2776207"/>
              <a:gd name="connsiteX27" fmla="*/ 601707 w 1740150"/>
              <a:gd name="connsiteY27" fmla="*/ 116460 h 2776207"/>
              <a:gd name="connsiteX28" fmla="*/ 605672 w 1740150"/>
              <a:gd name="connsiteY28" fmla="*/ 77792 h 2776207"/>
              <a:gd name="connsiteX29" fmla="*/ 752398 w 1740150"/>
              <a:gd name="connsiteY29" fmla="*/ 185 h 2776207"/>
              <a:gd name="connsiteX0" fmla="*/ 752398 w 1740150"/>
              <a:gd name="connsiteY0" fmla="*/ 185 h 2781319"/>
              <a:gd name="connsiteX1" fmla="*/ 824243 w 1740150"/>
              <a:gd name="connsiteY1" fmla="*/ 13910 h 2781319"/>
              <a:gd name="connsiteX2" fmla="*/ 957621 w 1740150"/>
              <a:gd name="connsiteY2" fmla="*/ 198475 h 2781319"/>
              <a:gd name="connsiteX3" fmla="*/ 935507 w 1740150"/>
              <a:gd name="connsiteY3" fmla="*/ 233085 h 2781319"/>
              <a:gd name="connsiteX4" fmla="*/ 935892 w 1740150"/>
              <a:gd name="connsiteY4" fmla="*/ 233219 h 2781319"/>
              <a:gd name="connsiteX5" fmla="*/ 933552 w 1740150"/>
              <a:gd name="connsiteY5" fmla="*/ 235207 h 2781319"/>
              <a:gd name="connsiteX6" fmla="*/ 919227 w 1740150"/>
              <a:gd name="connsiteY6" fmla="*/ 247374 h 2781319"/>
              <a:gd name="connsiteX7" fmla="*/ 857210 w 1740150"/>
              <a:gd name="connsiteY7" fmla="*/ 386801 h 2781319"/>
              <a:gd name="connsiteX8" fmla="*/ 1361972 w 1740150"/>
              <a:gd name="connsiteY8" fmla="*/ 546862 h 2781319"/>
              <a:gd name="connsiteX9" fmla="*/ 1307592 w 1740150"/>
              <a:gd name="connsiteY9" fmla="*/ 877375 h 2781319"/>
              <a:gd name="connsiteX10" fmla="*/ 1737636 w 1740150"/>
              <a:gd name="connsiteY10" fmla="*/ 1719667 h 2781319"/>
              <a:gd name="connsiteX11" fmla="*/ 1441036 w 1740150"/>
              <a:gd name="connsiteY11" fmla="*/ 2127372 h 2781319"/>
              <a:gd name="connsiteX12" fmla="*/ 1304992 w 1740150"/>
              <a:gd name="connsiteY12" fmla="*/ 2034345 h 2781319"/>
              <a:gd name="connsiteX13" fmla="*/ 1297270 w 1740150"/>
              <a:gd name="connsiteY13" fmla="*/ 2017210 h 2781319"/>
              <a:gd name="connsiteX14" fmla="*/ 1296008 w 1740150"/>
              <a:gd name="connsiteY14" fmla="*/ 2014410 h 2781319"/>
              <a:gd name="connsiteX15" fmla="*/ 1295772 w 1740150"/>
              <a:gd name="connsiteY15" fmla="*/ 2014743 h 2781319"/>
              <a:gd name="connsiteX16" fmla="*/ 1268644 w 1740150"/>
              <a:gd name="connsiteY16" fmla="*/ 1983906 h 2781319"/>
              <a:gd name="connsiteX17" fmla="*/ 1054352 w 1740150"/>
              <a:gd name="connsiteY17" fmla="*/ 2060931 h 2781319"/>
              <a:gd name="connsiteX18" fmla="*/ 1055179 w 1740150"/>
              <a:gd name="connsiteY18" fmla="*/ 2288644 h 2781319"/>
              <a:gd name="connsiteX19" fmla="*/ 1091235 w 1740150"/>
              <a:gd name="connsiteY19" fmla="*/ 2303167 h 2781319"/>
              <a:gd name="connsiteX20" fmla="*/ 1090962 w 1740150"/>
              <a:gd name="connsiteY20" fmla="*/ 2303552 h 2781319"/>
              <a:gd name="connsiteX21" fmla="*/ 1248193 w 1740150"/>
              <a:gd name="connsiteY21" fmla="*/ 2392452 h 2781319"/>
              <a:gd name="connsiteX22" fmla="*/ 969172 w 1740150"/>
              <a:gd name="connsiteY22" fmla="*/ 2775994 h 2781319"/>
              <a:gd name="connsiteX23" fmla="*/ 0 w 1740150"/>
              <a:gd name="connsiteY23" fmla="*/ 877375 h 2781319"/>
              <a:gd name="connsiteX24" fmla="*/ 115515 w 1740150"/>
              <a:gd name="connsiteY24" fmla="*/ 151608 h 2781319"/>
              <a:gd name="connsiteX25" fmla="*/ 558792 w 1740150"/>
              <a:gd name="connsiteY25" fmla="*/ 292172 h 2781319"/>
              <a:gd name="connsiteX26" fmla="*/ 601261 w 1740150"/>
              <a:gd name="connsiteY26" fmla="*/ 116305 h 2781319"/>
              <a:gd name="connsiteX27" fmla="*/ 601707 w 1740150"/>
              <a:gd name="connsiteY27" fmla="*/ 116460 h 2781319"/>
              <a:gd name="connsiteX28" fmla="*/ 605672 w 1740150"/>
              <a:gd name="connsiteY28" fmla="*/ 77792 h 2781319"/>
              <a:gd name="connsiteX29" fmla="*/ 752398 w 1740150"/>
              <a:gd name="connsiteY29" fmla="*/ 185 h 2781319"/>
              <a:gd name="connsiteX0" fmla="*/ 752398 w 1740150"/>
              <a:gd name="connsiteY0" fmla="*/ 185 h 2780838"/>
              <a:gd name="connsiteX1" fmla="*/ 824243 w 1740150"/>
              <a:gd name="connsiteY1" fmla="*/ 13910 h 2780838"/>
              <a:gd name="connsiteX2" fmla="*/ 957621 w 1740150"/>
              <a:gd name="connsiteY2" fmla="*/ 198475 h 2780838"/>
              <a:gd name="connsiteX3" fmla="*/ 935507 w 1740150"/>
              <a:gd name="connsiteY3" fmla="*/ 233085 h 2780838"/>
              <a:gd name="connsiteX4" fmla="*/ 935892 w 1740150"/>
              <a:gd name="connsiteY4" fmla="*/ 233219 h 2780838"/>
              <a:gd name="connsiteX5" fmla="*/ 933552 w 1740150"/>
              <a:gd name="connsiteY5" fmla="*/ 235207 h 2780838"/>
              <a:gd name="connsiteX6" fmla="*/ 919227 w 1740150"/>
              <a:gd name="connsiteY6" fmla="*/ 247374 h 2780838"/>
              <a:gd name="connsiteX7" fmla="*/ 857210 w 1740150"/>
              <a:gd name="connsiteY7" fmla="*/ 386801 h 2780838"/>
              <a:gd name="connsiteX8" fmla="*/ 1361972 w 1740150"/>
              <a:gd name="connsiteY8" fmla="*/ 546862 h 2780838"/>
              <a:gd name="connsiteX9" fmla="*/ 1307592 w 1740150"/>
              <a:gd name="connsiteY9" fmla="*/ 877375 h 2780838"/>
              <a:gd name="connsiteX10" fmla="*/ 1737636 w 1740150"/>
              <a:gd name="connsiteY10" fmla="*/ 1719667 h 2780838"/>
              <a:gd name="connsiteX11" fmla="*/ 1441036 w 1740150"/>
              <a:gd name="connsiteY11" fmla="*/ 2127372 h 2780838"/>
              <a:gd name="connsiteX12" fmla="*/ 1304992 w 1740150"/>
              <a:gd name="connsiteY12" fmla="*/ 2034345 h 2780838"/>
              <a:gd name="connsiteX13" fmla="*/ 1297270 w 1740150"/>
              <a:gd name="connsiteY13" fmla="*/ 2017210 h 2780838"/>
              <a:gd name="connsiteX14" fmla="*/ 1296008 w 1740150"/>
              <a:gd name="connsiteY14" fmla="*/ 2014410 h 2780838"/>
              <a:gd name="connsiteX15" fmla="*/ 1295772 w 1740150"/>
              <a:gd name="connsiteY15" fmla="*/ 2014743 h 2780838"/>
              <a:gd name="connsiteX16" fmla="*/ 1268644 w 1740150"/>
              <a:gd name="connsiteY16" fmla="*/ 1983906 h 2780838"/>
              <a:gd name="connsiteX17" fmla="*/ 1054352 w 1740150"/>
              <a:gd name="connsiteY17" fmla="*/ 2060931 h 2780838"/>
              <a:gd name="connsiteX18" fmla="*/ 1055179 w 1740150"/>
              <a:gd name="connsiteY18" fmla="*/ 2288644 h 2780838"/>
              <a:gd name="connsiteX19" fmla="*/ 1091235 w 1740150"/>
              <a:gd name="connsiteY19" fmla="*/ 2303167 h 2780838"/>
              <a:gd name="connsiteX20" fmla="*/ 1090962 w 1740150"/>
              <a:gd name="connsiteY20" fmla="*/ 2303552 h 2780838"/>
              <a:gd name="connsiteX21" fmla="*/ 1248193 w 1740150"/>
              <a:gd name="connsiteY21" fmla="*/ 2392452 h 2780838"/>
              <a:gd name="connsiteX22" fmla="*/ 969172 w 1740150"/>
              <a:gd name="connsiteY22" fmla="*/ 2775994 h 2780838"/>
              <a:gd name="connsiteX23" fmla="*/ 0 w 1740150"/>
              <a:gd name="connsiteY23" fmla="*/ 877375 h 2780838"/>
              <a:gd name="connsiteX24" fmla="*/ 115515 w 1740150"/>
              <a:gd name="connsiteY24" fmla="*/ 151608 h 2780838"/>
              <a:gd name="connsiteX25" fmla="*/ 558792 w 1740150"/>
              <a:gd name="connsiteY25" fmla="*/ 292172 h 2780838"/>
              <a:gd name="connsiteX26" fmla="*/ 601261 w 1740150"/>
              <a:gd name="connsiteY26" fmla="*/ 116305 h 2780838"/>
              <a:gd name="connsiteX27" fmla="*/ 601707 w 1740150"/>
              <a:gd name="connsiteY27" fmla="*/ 116460 h 2780838"/>
              <a:gd name="connsiteX28" fmla="*/ 605672 w 1740150"/>
              <a:gd name="connsiteY28" fmla="*/ 77792 h 2780838"/>
              <a:gd name="connsiteX29" fmla="*/ 752398 w 1740150"/>
              <a:gd name="connsiteY29" fmla="*/ 185 h 2780838"/>
              <a:gd name="connsiteX0" fmla="*/ 752398 w 1740735"/>
              <a:gd name="connsiteY0" fmla="*/ 185 h 2780838"/>
              <a:gd name="connsiteX1" fmla="*/ 824243 w 1740735"/>
              <a:gd name="connsiteY1" fmla="*/ 13910 h 2780838"/>
              <a:gd name="connsiteX2" fmla="*/ 957621 w 1740735"/>
              <a:gd name="connsiteY2" fmla="*/ 198475 h 2780838"/>
              <a:gd name="connsiteX3" fmla="*/ 935507 w 1740735"/>
              <a:gd name="connsiteY3" fmla="*/ 233085 h 2780838"/>
              <a:gd name="connsiteX4" fmla="*/ 935892 w 1740735"/>
              <a:gd name="connsiteY4" fmla="*/ 233219 h 2780838"/>
              <a:gd name="connsiteX5" fmla="*/ 933552 w 1740735"/>
              <a:gd name="connsiteY5" fmla="*/ 235207 h 2780838"/>
              <a:gd name="connsiteX6" fmla="*/ 919227 w 1740735"/>
              <a:gd name="connsiteY6" fmla="*/ 247374 h 2780838"/>
              <a:gd name="connsiteX7" fmla="*/ 857210 w 1740735"/>
              <a:gd name="connsiteY7" fmla="*/ 386801 h 2780838"/>
              <a:gd name="connsiteX8" fmla="*/ 1361972 w 1740735"/>
              <a:gd name="connsiteY8" fmla="*/ 546862 h 2780838"/>
              <a:gd name="connsiteX9" fmla="*/ 1307592 w 1740735"/>
              <a:gd name="connsiteY9" fmla="*/ 877375 h 2780838"/>
              <a:gd name="connsiteX10" fmla="*/ 1737636 w 1740735"/>
              <a:gd name="connsiteY10" fmla="*/ 1719667 h 2780838"/>
              <a:gd name="connsiteX11" fmla="*/ 1464116 w 1740735"/>
              <a:gd name="connsiteY11" fmla="*/ 2127372 h 2780838"/>
              <a:gd name="connsiteX12" fmla="*/ 1304992 w 1740735"/>
              <a:gd name="connsiteY12" fmla="*/ 2034345 h 2780838"/>
              <a:gd name="connsiteX13" fmla="*/ 1297270 w 1740735"/>
              <a:gd name="connsiteY13" fmla="*/ 2017210 h 2780838"/>
              <a:gd name="connsiteX14" fmla="*/ 1296008 w 1740735"/>
              <a:gd name="connsiteY14" fmla="*/ 2014410 h 2780838"/>
              <a:gd name="connsiteX15" fmla="*/ 1295772 w 1740735"/>
              <a:gd name="connsiteY15" fmla="*/ 2014743 h 2780838"/>
              <a:gd name="connsiteX16" fmla="*/ 1268644 w 1740735"/>
              <a:gd name="connsiteY16" fmla="*/ 1983906 h 2780838"/>
              <a:gd name="connsiteX17" fmla="*/ 1054352 w 1740735"/>
              <a:gd name="connsiteY17" fmla="*/ 2060931 h 2780838"/>
              <a:gd name="connsiteX18" fmla="*/ 1055179 w 1740735"/>
              <a:gd name="connsiteY18" fmla="*/ 2288644 h 2780838"/>
              <a:gd name="connsiteX19" fmla="*/ 1091235 w 1740735"/>
              <a:gd name="connsiteY19" fmla="*/ 2303167 h 2780838"/>
              <a:gd name="connsiteX20" fmla="*/ 1090962 w 1740735"/>
              <a:gd name="connsiteY20" fmla="*/ 2303552 h 2780838"/>
              <a:gd name="connsiteX21" fmla="*/ 1248193 w 1740735"/>
              <a:gd name="connsiteY21" fmla="*/ 2392452 h 2780838"/>
              <a:gd name="connsiteX22" fmla="*/ 969172 w 1740735"/>
              <a:gd name="connsiteY22" fmla="*/ 2775994 h 2780838"/>
              <a:gd name="connsiteX23" fmla="*/ 0 w 1740735"/>
              <a:gd name="connsiteY23" fmla="*/ 877375 h 2780838"/>
              <a:gd name="connsiteX24" fmla="*/ 115515 w 1740735"/>
              <a:gd name="connsiteY24" fmla="*/ 151608 h 2780838"/>
              <a:gd name="connsiteX25" fmla="*/ 558792 w 1740735"/>
              <a:gd name="connsiteY25" fmla="*/ 292172 h 2780838"/>
              <a:gd name="connsiteX26" fmla="*/ 601261 w 1740735"/>
              <a:gd name="connsiteY26" fmla="*/ 116305 h 2780838"/>
              <a:gd name="connsiteX27" fmla="*/ 601707 w 1740735"/>
              <a:gd name="connsiteY27" fmla="*/ 116460 h 2780838"/>
              <a:gd name="connsiteX28" fmla="*/ 605672 w 1740735"/>
              <a:gd name="connsiteY28" fmla="*/ 77792 h 2780838"/>
              <a:gd name="connsiteX29" fmla="*/ 752398 w 1740735"/>
              <a:gd name="connsiteY29" fmla="*/ 185 h 2780838"/>
              <a:gd name="connsiteX0" fmla="*/ 752398 w 1740735"/>
              <a:gd name="connsiteY0" fmla="*/ 185 h 2780838"/>
              <a:gd name="connsiteX1" fmla="*/ 824243 w 1740735"/>
              <a:gd name="connsiteY1" fmla="*/ 13910 h 2780838"/>
              <a:gd name="connsiteX2" fmla="*/ 957621 w 1740735"/>
              <a:gd name="connsiteY2" fmla="*/ 198475 h 2780838"/>
              <a:gd name="connsiteX3" fmla="*/ 935507 w 1740735"/>
              <a:gd name="connsiteY3" fmla="*/ 233085 h 2780838"/>
              <a:gd name="connsiteX4" fmla="*/ 935892 w 1740735"/>
              <a:gd name="connsiteY4" fmla="*/ 233219 h 2780838"/>
              <a:gd name="connsiteX5" fmla="*/ 933552 w 1740735"/>
              <a:gd name="connsiteY5" fmla="*/ 235207 h 2780838"/>
              <a:gd name="connsiteX6" fmla="*/ 919227 w 1740735"/>
              <a:gd name="connsiteY6" fmla="*/ 247374 h 2780838"/>
              <a:gd name="connsiteX7" fmla="*/ 857210 w 1740735"/>
              <a:gd name="connsiteY7" fmla="*/ 386801 h 2780838"/>
              <a:gd name="connsiteX8" fmla="*/ 1361972 w 1740735"/>
              <a:gd name="connsiteY8" fmla="*/ 546862 h 2780838"/>
              <a:gd name="connsiteX9" fmla="*/ 1307592 w 1740735"/>
              <a:gd name="connsiteY9" fmla="*/ 877375 h 2780838"/>
              <a:gd name="connsiteX10" fmla="*/ 1737636 w 1740735"/>
              <a:gd name="connsiteY10" fmla="*/ 1719667 h 2780838"/>
              <a:gd name="connsiteX11" fmla="*/ 1464116 w 1740735"/>
              <a:gd name="connsiteY11" fmla="*/ 2127372 h 2780838"/>
              <a:gd name="connsiteX12" fmla="*/ 1304992 w 1740735"/>
              <a:gd name="connsiteY12" fmla="*/ 2034345 h 2780838"/>
              <a:gd name="connsiteX13" fmla="*/ 1297270 w 1740735"/>
              <a:gd name="connsiteY13" fmla="*/ 2017210 h 2780838"/>
              <a:gd name="connsiteX14" fmla="*/ 1296008 w 1740735"/>
              <a:gd name="connsiteY14" fmla="*/ 2014410 h 2780838"/>
              <a:gd name="connsiteX15" fmla="*/ 1295772 w 1740735"/>
              <a:gd name="connsiteY15" fmla="*/ 2014743 h 2780838"/>
              <a:gd name="connsiteX16" fmla="*/ 1268644 w 1740735"/>
              <a:gd name="connsiteY16" fmla="*/ 1983906 h 2780838"/>
              <a:gd name="connsiteX17" fmla="*/ 1054352 w 1740735"/>
              <a:gd name="connsiteY17" fmla="*/ 2060931 h 2780838"/>
              <a:gd name="connsiteX18" fmla="*/ 1055179 w 1740735"/>
              <a:gd name="connsiteY18" fmla="*/ 2288644 h 2780838"/>
              <a:gd name="connsiteX19" fmla="*/ 1091235 w 1740735"/>
              <a:gd name="connsiteY19" fmla="*/ 2303167 h 2780838"/>
              <a:gd name="connsiteX20" fmla="*/ 1090962 w 1740735"/>
              <a:gd name="connsiteY20" fmla="*/ 2303552 h 2780838"/>
              <a:gd name="connsiteX21" fmla="*/ 1248193 w 1740735"/>
              <a:gd name="connsiteY21" fmla="*/ 2392452 h 2780838"/>
              <a:gd name="connsiteX22" fmla="*/ 969172 w 1740735"/>
              <a:gd name="connsiteY22" fmla="*/ 2775994 h 2780838"/>
              <a:gd name="connsiteX23" fmla="*/ 0 w 1740735"/>
              <a:gd name="connsiteY23" fmla="*/ 877375 h 2780838"/>
              <a:gd name="connsiteX24" fmla="*/ 115515 w 1740735"/>
              <a:gd name="connsiteY24" fmla="*/ 151608 h 2780838"/>
              <a:gd name="connsiteX25" fmla="*/ 558792 w 1740735"/>
              <a:gd name="connsiteY25" fmla="*/ 292172 h 2780838"/>
              <a:gd name="connsiteX26" fmla="*/ 601261 w 1740735"/>
              <a:gd name="connsiteY26" fmla="*/ 116305 h 2780838"/>
              <a:gd name="connsiteX27" fmla="*/ 601707 w 1740735"/>
              <a:gd name="connsiteY27" fmla="*/ 116460 h 2780838"/>
              <a:gd name="connsiteX28" fmla="*/ 605672 w 1740735"/>
              <a:gd name="connsiteY28" fmla="*/ 77792 h 2780838"/>
              <a:gd name="connsiteX29" fmla="*/ 752398 w 1740735"/>
              <a:gd name="connsiteY29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1707 w 1743279"/>
              <a:gd name="connsiteY27" fmla="*/ 116460 h 2780838"/>
              <a:gd name="connsiteX28" fmla="*/ 605672 w 1743279"/>
              <a:gd name="connsiteY28" fmla="*/ 77792 h 2780838"/>
              <a:gd name="connsiteX29" fmla="*/ 752398 w 1743279"/>
              <a:gd name="connsiteY29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601261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185 h 2780838"/>
              <a:gd name="connsiteX1" fmla="*/ 824243 w 1743279"/>
              <a:gd name="connsiteY1" fmla="*/ 13910 h 2780838"/>
              <a:gd name="connsiteX2" fmla="*/ 957621 w 1743279"/>
              <a:gd name="connsiteY2" fmla="*/ 198475 h 2780838"/>
              <a:gd name="connsiteX3" fmla="*/ 935507 w 1743279"/>
              <a:gd name="connsiteY3" fmla="*/ 233085 h 2780838"/>
              <a:gd name="connsiteX4" fmla="*/ 935892 w 1743279"/>
              <a:gd name="connsiteY4" fmla="*/ 233219 h 2780838"/>
              <a:gd name="connsiteX5" fmla="*/ 933552 w 1743279"/>
              <a:gd name="connsiteY5" fmla="*/ 235207 h 2780838"/>
              <a:gd name="connsiteX6" fmla="*/ 919227 w 1743279"/>
              <a:gd name="connsiteY6" fmla="*/ 247374 h 2780838"/>
              <a:gd name="connsiteX7" fmla="*/ 857210 w 1743279"/>
              <a:gd name="connsiteY7" fmla="*/ 386801 h 2780838"/>
              <a:gd name="connsiteX8" fmla="*/ 1361972 w 1743279"/>
              <a:gd name="connsiteY8" fmla="*/ 546862 h 2780838"/>
              <a:gd name="connsiteX9" fmla="*/ 1307592 w 1743279"/>
              <a:gd name="connsiteY9" fmla="*/ 877375 h 2780838"/>
              <a:gd name="connsiteX10" fmla="*/ 1737636 w 1743279"/>
              <a:gd name="connsiteY10" fmla="*/ 1719667 h 2780838"/>
              <a:gd name="connsiteX11" fmla="*/ 1464116 w 1743279"/>
              <a:gd name="connsiteY11" fmla="*/ 2127372 h 2780838"/>
              <a:gd name="connsiteX12" fmla="*/ 1304992 w 1743279"/>
              <a:gd name="connsiteY12" fmla="*/ 2034345 h 2780838"/>
              <a:gd name="connsiteX13" fmla="*/ 1297270 w 1743279"/>
              <a:gd name="connsiteY13" fmla="*/ 2017210 h 2780838"/>
              <a:gd name="connsiteX14" fmla="*/ 1296008 w 1743279"/>
              <a:gd name="connsiteY14" fmla="*/ 2014410 h 2780838"/>
              <a:gd name="connsiteX15" fmla="*/ 1295772 w 1743279"/>
              <a:gd name="connsiteY15" fmla="*/ 2014743 h 2780838"/>
              <a:gd name="connsiteX16" fmla="*/ 1268644 w 1743279"/>
              <a:gd name="connsiteY16" fmla="*/ 1983906 h 2780838"/>
              <a:gd name="connsiteX17" fmla="*/ 1054352 w 1743279"/>
              <a:gd name="connsiteY17" fmla="*/ 2060931 h 2780838"/>
              <a:gd name="connsiteX18" fmla="*/ 1055179 w 1743279"/>
              <a:gd name="connsiteY18" fmla="*/ 2288644 h 2780838"/>
              <a:gd name="connsiteX19" fmla="*/ 1091235 w 1743279"/>
              <a:gd name="connsiteY19" fmla="*/ 2303167 h 2780838"/>
              <a:gd name="connsiteX20" fmla="*/ 1090962 w 1743279"/>
              <a:gd name="connsiteY20" fmla="*/ 2303552 h 2780838"/>
              <a:gd name="connsiteX21" fmla="*/ 1248193 w 1743279"/>
              <a:gd name="connsiteY21" fmla="*/ 2392452 h 2780838"/>
              <a:gd name="connsiteX22" fmla="*/ 969172 w 1743279"/>
              <a:gd name="connsiteY22" fmla="*/ 2775994 h 2780838"/>
              <a:gd name="connsiteX23" fmla="*/ 0 w 1743279"/>
              <a:gd name="connsiteY23" fmla="*/ 877375 h 2780838"/>
              <a:gd name="connsiteX24" fmla="*/ 115515 w 1743279"/>
              <a:gd name="connsiteY24" fmla="*/ 151608 h 2780838"/>
              <a:gd name="connsiteX25" fmla="*/ 558792 w 1743279"/>
              <a:gd name="connsiteY25" fmla="*/ 292172 h 2780838"/>
              <a:gd name="connsiteX26" fmla="*/ 584869 w 1743279"/>
              <a:gd name="connsiteY26" fmla="*/ 116305 h 2780838"/>
              <a:gd name="connsiteX27" fmla="*/ 605672 w 1743279"/>
              <a:gd name="connsiteY27" fmla="*/ 77792 h 2780838"/>
              <a:gd name="connsiteX28" fmla="*/ 752398 w 1743279"/>
              <a:gd name="connsiteY28" fmla="*/ 185 h 2780838"/>
              <a:gd name="connsiteX0" fmla="*/ 752398 w 1743279"/>
              <a:gd name="connsiteY0" fmla="*/ 248 h 2780901"/>
              <a:gd name="connsiteX1" fmla="*/ 824243 w 1743279"/>
              <a:gd name="connsiteY1" fmla="*/ 13973 h 2780901"/>
              <a:gd name="connsiteX2" fmla="*/ 957621 w 1743279"/>
              <a:gd name="connsiteY2" fmla="*/ 198538 h 2780901"/>
              <a:gd name="connsiteX3" fmla="*/ 935507 w 1743279"/>
              <a:gd name="connsiteY3" fmla="*/ 233148 h 2780901"/>
              <a:gd name="connsiteX4" fmla="*/ 935892 w 1743279"/>
              <a:gd name="connsiteY4" fmla="*/ 233282 h 2780901"/>
              <a:gd name="connsiteX5" fmla="*/ 933552 w 1743279"/>
              <a:gd name="connsiteY5" fmla="*/ 235270 h 2780901"/>
              <a:gd name="connsiteX6" fmla="*/ 919227 w 1743279"/>
              <a:gd name="connsiteY6" fmla="*/ 247437 h 2780901"/>
              <a:gd name="connsiteX7" fmla="*/ 857210 w 1743279"/>
              <a:gd name="connsiteY7" fmla="*/ 386864 h 2780901"/>
              <a:gd name="connsiteX8" fmla="*/ 1361972 w 1743279"/>
              <a:gd name="connsiteY8" fmla="*/ 546925 h 2780901"/>
              <a:gd name="connsiteX9" fmla="*/ 1307592 w 1743279"/>
              <a:gd name="connsiteY9" fmla="*/ 877438 h 2780901"/>
              <a:gd name="connsiteX10" fmla="*/ 1737636 w 1743279"/>
              <a:gd name="connsiteY10" fmla="*/ 1719730 h 2780901"/>
              <a:gd name="connsiteX11" fmla="*/ 1464116 w 1743279"/>
              <a:gd name="connsiteY11" fmla="*/ 2127435 h 2780901"/>
              <a:gd name="connsiteX12" fmla="*/ 1304992 w 1743279"/>
              <a:gd name="connsiteY12" fmla="*/ 2034408 h 2780901"/>
              <a:gd name="connsiteX13" fmla="*/ 1297270 w 1743279"/>
              <a:gd name="connsiteY13" fmla="*/ 2017273 h 2780901"/>
              <a:gd name="connsiteX14" fmla="*/ 1296008 w 1743279"/>
              <a:gd name="connsiteY14" fmla="*/ 2014473 h 2780901"/>
              <a:gd name="connsiteX15" fmla="*/ 1295772 w 1743279"/>
              <a:gd name="connsiteY15" fmla="*/ 2014806 h 2780901"/>
              <a:gd name="connsiteX16" fmla="*/ 1268644 w 1743279"/>
              <a:gd name="connsiteY16" fmla="*/ 1983969 h 2780901"/>
              <a:gd name="connsiteX17" fmla="*/ 1054352 w 1743279"/>
              <a:gd name="connsiteY17" fmla="*/ 2060994 h 2780901"/>
              <a:gd name="connsiteX18" fmla="*/ 1055179 w 1743279"/>
              <a:gd name="connsiteY18" fmla="*/ 2288707 h 2780901"/>
              <a:gd name="connsiteX19" fmla="*/ 1091235 w 1743279"/>
              <a:gd name="connsiteY19" fmla="*/ 2303230 h 2780901"/>
              <a:gd name="connsiteX20" fmla="*/ 1090962 w 1743279"/>
              <a:gd name="connsiteY20" fmla="*/ 2303615 h 2780901"/>
              <a:gd name="connsiteX21" fmla="*/ 1248193 w 1743279"/>
              <a:gd name="connsiteY21" fmla="*/ 2392515 h 2780901"/>
              <a:gd name="connsiteX22" fmla="*/ 969172 w 1743279"/>
              <a:gd name="connsiteY22" fmla="*/ 2776057 h 2780901"/>
              <a:gd name="connsiteX23" fmla="*/ 0 w 1743279"/>
              <a:gd name="connsiteY23" fmla="*/ 877438 h 2780901"/>
              <a:gd name="connsiteX24" fmla="*/ 115515 w 1743279"/>
              <a:gd name="connsiteY24" fmla="*/ 151671 h 2780901"/>
              <a:gd name="connsiteX25" fmla="*/ 558792 w 1743279"/>
              <a:gd name="connsiteY25" fmla="*/ 292235 h 2780901"/>
              <a:gd name="connsiteX26" fmla="*/ 584869 w 1743279"/>
              <a:gd name="connsiteY26" fmla="*/ 116368 h 2780901"/>
              <a:gd name="connsiteX27" fmla="*/ 593378 w 1743279"/>
              <a:gd name="connsiteY27" fmla="*/ 69659 h 2780901"/>
              <a:gd name="connsiteX28" fmla="*/ 752398 w 1743279"/>
              <a:gd name="connsiteY28" fmla="*/ 248 h 2780901"/>
              <a:gd name="connsiteX0" fmla="*/ 752398 w 1743279"/>
              <a:gd name="connsiteY0" fmla="*/ 248 h 2780901"/>
              <a:gd name="connsiteX1" fmla="*/ 824243 w 1743279"/>
              <a:gd name="connsiteY1" fmla="*/ 13973 h 2780901"/>
              <a:gd name="connsiteX2" fmla="*/ 957621 w 1743279"/>
              <a:gd name="connsiteY2" fmla="*/ 198538 h 2780901"/>
              <a:gd name="connsiteX3" fmla="*/ 935507 w 1743279"/>
              <a:gd name="connsiteY3" fmla="*/ 233148 h 2780901"/>
              <a:gd name="connsiteX4" fmla="*/ 935892 w 1743279"/>
              <a:gd name="connsiteY4" fmla="*/ 233282 h 2780901"/>
              <a:gd name="connsiteX5" fmla="*/ 933552 w 1743279"/>
              <a:gd name="connsiteY5" fmla="*/ 235270 h 2780901"/>
              <a:gd name="connsiteX6" fmla="*/ 919227 w 1743279"/>
              <a:gd name="connsiteY6" fmla="*/ 247437 h 2780901"/>
              <a:gd name="connsiteX7" fmla="*/ 857210 w 1743279"/>
              <a:gd name="connsiteY7" fmla="*/ 386864 h 2780901"/>
              <a:gd name="connsiteX8" fmla="*/ 1361972 w 1743279"/>
              <a:gd name="connsiteY8" fmla="*/ 546925 h 2780901"/>
              <a:gd name="connsiteX9" fmla="*/ 1307592 w 1743279"/>
              <a:gd name="connsiteY9" fmla="*/ 877438 h 2780901"/>
              <a:gd name="connsiteX10" fmla="*/ 1737636 w 1743279"/>
              <a:gd name="connsiteY10" fmla="*/ 1719730 h 2780901"/>
              <a:gd name="connsiteX11" fmla="*/ 1464116 w 1743279"/>
              <a:gd name="connsiteY11" fmla="*/ 2127435 h 2780901"/>
              <a:gd name="connsiteX12" fmla="*/ 1304992 w 1743279"/>
              <a:gd name="connsiteY12" fmla="*/ 2034408 h 2780901"/>
              <a:gd name="connsiteX13" fmla="*/ 1297270 w 1743279"/>
              <a:gd name="connsiteY13" fmla="*/ 2017273 h 2780901"/>
              <a:gd name="connsiteX14" fmla="*/ 1296008 w 1743279"/>
              <a:gd name="connsiteY14" fmla="*/ 2014473 h 2780901"/>
              <a:gd name="connsiteX15" fmla="*/ 1295772 w 1743279"/>
              <a:gd name="connsiteY15" fmla="*/ 2014806 h 2780901"/>
              <a:gd name="connsiteX16" fmla="*/ 1268644 w 1743279"/>
              <a:gd name="connsiteY16" fmla="*/ 1983969 h 2780901"/>
              <a:gd name="connsiteX17" fmla="*/ 1054352 w 1743279"/>
              <a:gd name="connsiteY17" fmla="*/ 2060994 h 2780901"/>
              <a:gd name="connsiteX18" fmla="*/ 1055179 w 1743279"/>
              <a:gd name="connsiteY18" fmla="*/ 2288707 h 2780901"/>
              <a:gd name="connsiteX19" fmla="*/ 1091235 w 1743279"/>
              <a:gd name="connsiteY19" fmla="*/ 2303230 h 2780901"/>
              <a:gd name="connsiteX20" fmla="*/ 1090962 w 1743279"/>
              <a:gd name="connsiteY20" fmla="*/ 2303615 h 2780901"/>
              <a:gd name="connsiteX21" fmla="*/ 1248193 w 1743279"/>
              <a:gd name="connsiteY21" fmla="*/ 2392515 h 2780901"/>
              <a:gd name="connsiteX22" fmla="*/ 969172 w 1743279"/>
              <a:gd name="connsiteY22" fmla="*/ 2776057 h 2780901"/>
              <a:gd name="connsiteX23" fmla="*/ 0 w 1743279"/>
              <a:gd name="connsiteY23" fmla="*/ 877438 h 2780901"/>
              <a:gd name="connsiteX24" fmla="*/ 115515 w 1743279"/>
              <a:gd name="connsiteY24" fmla="*/ 151671 h 2780901"/>
              <a:gd name="connsiteX25" fmla="*/ 558792 w 1743279"/>
              <a:gd name="connsiteY25" fmla="*/ 292235 h 2780901"/>
              <a:gd name="connsiteX26" fmla="*/ 584869 w 1743279"/>
              <a:gd name="connsiteY26" fmla="*/ 116368 h 2780901"/>
              <a:gd name="connsiteX27" fmla="*/ 593378 w 1743279"/>
              <a:gd name="connsiteY27" fmla="*/ 69659 h 2780901"/>
              <a:gd name="connsiteX28" fmla="*/ 752398 w 1743279"/>
              <a:gd name="connsiteY28" fmla="*/ 248 h 2780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743279" h="2780901">
                <a:moveTo>
                  <a:pt x="752398" y="248"/>
                </a:moveTo>
                <a:cubicBezTo>
                  <a:pt x="775607" y="1181"/>
                  <a:pt x="799946" y="5642"/>
                  <a:pt x="824243" y="13973"/>
                </a:cubicBezTo>
                <a:cubicBezTo>
                  <a:pt x="921430" y="47299"/>
                  <a:pt x="981146" y="129931"/>
                  <a:pt x="957621" y="198538"/>
                </a:cubicBezTo>
                <a:cubicBezTo>
                  <a:pt x="953084" y="211768"/>
                  <a:pt x="945783" y="223511"/>
                  <a:pt x="935507" y="233148"/>
                </a:cubicBezTo>
                <a:lnTo>
                  <a:pt x="935892" y="233282"/>
                </a:lnTo>
                <a:cubicBezTo>
                  <a:pt x="935059" y="233912"/>
                  <a:pt x="934236" y="234543"/>
                  <a:pt x="933552" y="235270"/>
                </a:cubicBezTo>
                <a:cubicBezTo>
                  <a:pt x="929840" y="240101"/>
                  <a:pt x="925018" y="244172"/>
                  <a:pt x="919227" y="247437"/>
                </a:cubicBezTo>
                <a:cubicBezTo>
                  <a:pt x="855023" y="306028"/>
                  <a:pt x="832609" y="343099"/>
                  <a:pt x="857210" y="386864"/>
                </a:cubicBezTo>
                <a:cubicBezTo>
                  <a:pt x="916658" y="473114"/>
                  <a:pt x="1284813" y="577073"/>
                  <a:pt x="1361972" y="546925"/>
                </a:cubicBezTo>
                <a:cubicBezTo>
                  <a:pt x="1326417" y="650588"/>
                  <a:pt x="1307592" y="761815"/>
                  <a:pt x="1307592" y="877438"/>
                </a:cubicBezTo>
                <a:cubicBezTo>
                  <a:pt x="1307592" y="1224023"/>
                  <a:pt x="1476735" y="1531103"/>
                  <a:pt x="1737636" y="1719730"/>
                </a:cubicBezTo>
                <a:cubicBezTo>
                  <a:pt x="1766322" y="1790555"/>
                  <a:pt x="1687221" y="2086191"/>
                  <a:pt x="1464116" y="2127435"/>
                </a:cubicBezTo>
                <a:cubicBezTo>
                  <a:pt x="1366187" y="2155905"/>
                  <a:pt x="1348256" y="2121951"/>
                  <a:pt x="1304992" y="2034408"/>
                </a:cubicBezTo>
                <a:cubicBezTo>
                  <a:pt x="1303459" y="2027939"/>
                  <a:pt x="1300883" y="2022178"/>
                  <a:pt x="1297270" y="2017273"/>
                </a:cubicBezTo>
                <a:cubicBezTo>
                  <a:pt x="1296761" y="2016413"/>
                  <a:pt x="1296383" y="2015448"/>
                  <a:pt x="1296008" y="2014473"/>
                </a:cubicBezTo>
                <a:lnTo>
                  <a:pt x="1295772" y="2014806"/>
                </a:lnTo>
                <a:cubicBezTo>
                  <a:pt x="1289360" y="2002262"/>
                  <a:pt x="1280099" y="1991994"/>
                  <a:pt x="1268644" y="1983969"/>
                </a:cubicBezTo>
                <a:cubicBezTo>
                  <a:pt x="1209240" y="1942358"/>
                  <a:pt x="1113298" y="1976843"/>
                  <a:pt x="1054352" y="2060994"/>
                </a:cubicBezTo>
                <a:cubicBezTo>
                  <a:pt x="995405" y="2145145"/>
                  <a:pt x="995776" y="2247096"/>
                  <a:pt x="1055179" y="2288707"/>
                </a:cubicBezTo>
                <a:cubicBezTo>
                  <a:pt x="1066016" y="2296298"/>
                  <a:pt x="1078068" y="2301356"/>
                  <a:pt x="1091235" y="2303230"/>
                </a:cubicBezTo>
                <a:lnTo>
                  <a:pt x="1090962" y="2303615"/>
                </a:lnTo>
                <a:cubicBezTo>
                  <a:pt x="1225778" y="2318479"/>
                  <a:pt x="1248716" y="2320510"/>
                  <a:pt x="1248193" y="2392515"/>
                </a:cubicBezTo>
                <a:cubicBezTo>
                  <a:pt x="1289370" y="2465687"/>
                  <a:pt x="1107949" y="2826668"/>
                  <a:pt x="969172" y="2776057"/>
                </a:cubicBezTo>
                <a:cubicBezTo>
                  <a:pt x="381177" y="2350802"/>
                  <a:pt x="0" y="1658635"/>
                  <a:pt x="0" y="877438"/>
                </a:cubicBezTo>
                <a:cubicBezTo>
                  <a:pt x="0" y="624019"/>
                  <a:pt x="40113" y="379968"/>
                  <a:pt x="115515" y="151671"/>
                </a:cubicBezTo>
                <a:cubicBezTo>
                  <a:pt x="189894" y="241543"/>
                  <a:pt x="492005" y="321291"/>
                  <a:pt x="558792" y="292235"/>
                </a:cubicBezTo>
                <a:cubicBezTo>
                  <a:pt x="632857" y="260465"/>
                  <a:pt x="587515" y="238120"/>
                  <a:pt x="584869" y="116368"/>
                </a:cubicBezTo>
                <a:lnTo>
                  <a:pt x="593378" y="69659"/>
                </a:lnTo>
                <a:cubicBezTo>
                  <a:pt x="611022" y="18204"/>
                  <a:pt x="682772" y="-2552"/>
                  <a:pt x="752398" y="248"/>
                </a:cubicBezTo>
                <a:close/>
              </a:path>
            </a:pathLst>
          </a:custGeom>
          <a:solidFill>
            <a:srgbClr val="304C78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3175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</a:t>
            </a:r>
          </a:p>
        </p:txBody>
      </p:sp>
      <p:sp>
        <p:nvSpPr>
          <p:cNvPr id="112" name="Oval 14"/>
          <p:cNvSpPr/>
          <p:nvPr/>
        </p:nvSpPr>
        <p:spPr>
          <a:xfrm>
            <a:off x="3962272" y="1503436"/>
            <a:ext cx="2485353" cy="1937539"/>
          </a:xfrm>
          <a:custGeom>
            <a:avLst/>
            <a:gdLst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234577 w 2602819"/>
              <a:gd name="connsiteY14" fmla="*/ 1307592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6517 w 2602819"/>
              <a:gd name="connsiteY13" fmla="*/ 1307690 h 2020595"/>
              <a:gd name="connsiteX14" fmla="*/ 2168130 w 2602819"/>
              <a:gd name="connsiteY14" fmla="*/ 1302846 h 2020595"/>
              <a:gd name="connsiteX15" fmla="*/ 1246138 w 2602819"/>
              <a:gd name="connsiteY15" fmla="*/ 2020595 h 2020595"/>
              <a:gd name="connsiteX16" fmla="*/ 743931 w 2602819"/>
              <a:gd name="connsiteY16" fmla="*/ 1862992 h 2020595"/>
              <a:gd name="connsiteX17" fmla="*/ 803796 w 2602819"/>
              <a:gd name="connsiteY17" fmla="*/ 1720007 h 2020595"/>
              <a:gd name="connsiteX18" fmla="*/ 818121 w 2602819"/>
              <a:gd name="connsiteY18" fmla="*/ 1707840 h 2020595"/>
              <a:gd name="connsiteX19" fmla="*/ 820461 w 2602819"/>
              <a:gd name="connsiteY19" fmla="*/ 1705852 h 2020595"/>
              <a:gd name="connsiteX20" fmla="*/ 820076 w 2602819"/>
              <a:gd name="connsiteY20" fmla="*/ 1705718 h 2020595"/>
              <a:gd name="connsiteX21" fmla="*/ 842190 w 2602819"/>
              <a:gd name="connsiteY21" fmla="*/ 1671108 h 2020595"/>
              <a:gd name="connsiteX22" fmla="*/ 708812 w 2602819"/>
              <a:gd name="connsiteY22" fmla="*/ 1486544 h 2020595"/>
              <a:gd name="connsiteX23" fmla="*/ 490241 w 2602819"/>
              <a:gd name="connsiteY23" fmla="*/ 1550425 h 2020595"/>
              <a:gd name="connsiteX24" fmla="*/ 486276 w 2602819"/>
              <a:gd name="connsiteY24" fmla="*/ 1589093 h 2020595"/>
              <a:gd name="connsiteX25" fmla="*/ 485830 w 2602819"/>
              <a:gd name="connsiteY25" fmla="*/ 1588938 h 2020595"/>
              <a:gd name="connsiteX26" fmla="*/ 438679 w 2602819"/>
              <a:gd name="connsiteY26" fmla="*/ 1766044 h 2020595"/>
              <a:gd name="connsiteX27" fmla="*/ 0 w 2602819"/>
              <a:gd name="connsiteY27" fmla="*/ 1624469 h 2020595"/>
              <a:gd name="connsiteX28" fmla="*/ 2234577 w 2602819"/>
              <a:gd name="connsiteY28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168130 w 2602819"/>
              <a:gd name="connsiteY13" fmla="*/ 1302846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25085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25085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23457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9324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234577 w 2602819"/>
              <a:gd name="connsiteY27" fmla="*/ 0 h 2020595"/>
              <a:gd name="connsiteX0" fmla="*/ 2196607 w 2602819"/>
              <a:gd name="connsiteY0" fmla="*/ 0 h 2020595"/>
              <a:gd name="connsiteX1" fmla="*/ 2237975 w 2602819"/>
              <a:gd name="connsiteY1" fmla="*/ 172 h 2020595"/>
              <a:gd name="connsiteX2" fmla="*/ 2237414 w 2602819"/>
              <a:gd name="connsiteY2" fmla="*/ 503264 h 2020595"/>
              <a:gd name="connsiteX3" fmla="*/ 2433635 w 2602819"/>
              <a:gd name="connsiteY3" fmla="*/ 510526 h 2020595"/>
              <a:gd name="connsiteX4" fmla="*/ 2433632 w 2602819"/>
              <a:gd name="connsiteY4" fmla="*/ 510998 h 2020595"/>
              <a:gd name="connsiteX5" fmla="*/ 2471496 w 2602819"/>
              <a:gd name="connsiteY5" fmla="*/ 502206 h 2020595"/>
              <a:gd name="connsiteX6" fmla="*/ 2602819 w 2602819"/>
              <a:gd name="connsiteY6" fmla="*/ 688239 h 2020595"/>
              <a:gd name="connsiteX7" fmla="*/ 2471496 w 2602819"/>
              <a:gd name="connsiteY7" fmla="*/ 874271 h 2020595"/>
              <a:gd name="connsiteX8" fmla="*/ 2431585 w 2602819"/>
              <a:gd name="connsiteY8" fmla="*/ 864579 h 2020595"/>
              <a:gd name="connsiteX9" fmla="*/ 2431583 w 2602819"/>
              <a:gd name="connsiteY9" fmla="*/ 864987 h 2020595"/>
              <a:gd name="connsiteX10" fmla="*/ 2428943 w 2602819"/>
              <a:gd name="connsiteY10" fmla="*/ 863418 h 2020595"/>
              <a:gd name="connsiteX11" fmla="*/ 2412787 w 2602819"/>
              <a:gd name="connsiteY11" fmla="*/ 853814 h 2020595"/>
              <a:gd name="connsiteX12" fmla="*/ 2236999 w 2602819"/>
              <a:gd name="connsiteY12" fmla="*/ 875489 h 2020595"/>
              <a:gd name="connsiteX13" fmla="*/ 2239324 w 2602819"/>
              <a:gd name="connsiteY13" fmla="*/ 1307593 h 2020595"/>
              <a:gd name="connsiteX14" fmla="*/ 1246138 w 2602819"/>
              <a:gd name="connsiteY14" fmla="*/ 2020595 h 2020595"/>
              <a:gd name="connsiteX15" fmla="*/ 743931 w 2602819"/>
              <a:gd name="connsiteY15" fmla="*/ 1862992 h 2020595"/>
              <a:gd name="connsiteX16" fmla="*/ 803796 w 2602819"/>
              <a:gd name="connsiteY16" fmla="*/ 1720007 h 2020595"/>
              <a:gd name="connsiteX17" fmla="*/ 818121 w 2602819"/>
              <a:gd name="connsiteY17" fmla="*/ 1707840 h 2020595"/>
              <a:gd name="connsiteX18" fmla="*/ 820461 w 2602819"/>
              <a:gd name="connsiteY18" fmla="*/ 1705852 h 2020595"/>
              <a:gd name="connsiteX19" fmla="*/ 820076 w 2602819"/>
              <a:gd name="connsiteY19" fmla="*/ 1705718 h 2020595"/>
              <a:gd name="connsiteX20" fmla="*/ 842190 w 2602819"/>
              <a:gd name="connsiteY20" fmla="*/ 1671108 h 2020595"/>
              <a:gd name="connsiteX21" fmla="*/ 708812 w 2602819"/>
              <a:gd name="connsiteY21" fmla="*/ 1486544 h 2020595"/>
              <a:gd name="connsiteX22" fmla="*/ 490241 w 2602819"/>
              <a:gd name="connsiteY22" fmla="*/ 1550425 h 2020595"/>
              <a:gd name="connsiteX23" fmla="*/ 486276 w 2602819"/>
              <a:gd name="connsiteY23" fmla="*/ 1589093 h 2020595"/>
              <a:gd name="connsiteX24" fmla="*/ 485830 w 2602819"/>
              <a:gd name="connsiteY24" fmla="*/ 1588938 h 2020595"/>
              <a:gd name="connsiteX25" fmla="*/ 438679 w 2602819"/>
              <a:gd name="connsiteY25" fmla="*/ 1766044 h 2020595"/>
              <a:gd name="connsiteX26" fmla="*/ 0 w 2602819"/>
              <a:gd name="connsiteY26" fmla="*/ 1624469 h 2020595"/>
              <a:gd name="connsiteX27" fmla="*/ 2196607 w 2602819"/>
              <a:gd name="connsiteY27" fmla="*/ 0 h 2020595"/>
              <a:gd name="connsiteX0" fmla="*/ 2196607 w 2602819"/>
              <a:gd name="connsiteY0" fmla="*/ 0 h 2020595"/>
              <a:gd name="connsiteX1" fmla="*/ 2237414 w 2602819"/>
              <a:gd name="connsiteY1" fmla="*/ 503264 h 2020595"/>
              <a:gd name="connsiteX2" fmla="*/ 2433635 w 2602819"/>
              <a:gd name="connsiteY2" fmla="*/ 510526 h 2020595"/>
              <a:gd name="connsiteX3" fmla="*/ 2433632 w 2602819"/>
              <a:gd name="connsiteY3" fmla="*/ 510998 h 2020595"/>
              <a:gd name="connsiteX4" fmla="*/ 2471496 w 2602819"/>
              <a:gd name="connsiteY4" fmla="*/ 502206 h 2020595"/>
              <a:gd name="connsiteX5" fmla="*/ 2602819 w 2602819"/>
              <a:gd name="connsiteY5" fmla="*/ 688239 h 2020595"/>
              <a:gd name="connsiteX6" fmla="*/ 2471496 w 2602819"/>
              <a:gd name="connsiteY6" fmla="*/ 874271 h 2020595"/>
              <a:gd name="connsiteX7" fmla="*/ 2431585 w 2602819"/>
              <a:gd name="connsiteY7" fmla="*/ 864579 h 2020595"/>
              <a:gd name="connsiteX8" fmla="*/ 2431583 w 2602819"/>
              <a:gd name="connsiteY8" fmla="*/ 864987 h 2020595"/>
              <a:gd name="connsiteX9" fmla="*/ 2428943 w 2602819"/>
              <a:gd name="connsiteY9" fmla="*/ 863418 h 2020595"/>
              <a:gd name="connsiteX10" fmla="*/ 2412787 w 2602819"/>
              <a:gd name="connsiteY10" fmla="*/ 853814 h 2020595"/>
              <a:gd name="connsiteX11" fmla="*/ 2236999 w 2602819"/>
              <a:gd name="connsiteY11" fmla="*/ 875489 h 2020595"/>
              <a:gd name="connsiteX12" fmla="*/ 2239324 w 2602819"/>
              <a:gd name="connsiteY12" fmla="*/ 1307593 h 2020595"/>
              <a:gd name="connsiteX13" fmla="*/ 1246138 w 2602819"/>
              <a:gd name="connsiteY13" fmla="*/ 2020595 h 2020595"/>
              <a:gd name="connsiteX14" fmla="*/ 743931 w 2602819"/>
              <a:gd name="connsiteY14" fmla="*/ 1862992 h 2020595"/>
              <a:gd name="connsiteX15" fmla="*/ 803796 w 2602819"/>
              <a:gd name="connsiteY15" fmla="*/ 1720007 h 2020595"/>
              <a:gd name="connsiteX16" fmla="*/ 818121 w 2602819"/>
              <a:gd name="connsiteY16" fmla="*/ 1707840 h 2020595"/>
              <a:gd name="connsiteX17" fmla="*/ 820461 w 2602819"/>
              <a:gd name="connsiteY17" fmla="*/ 1705852 h 2020595"/>
              <a:gd name="connsiteX18" fmla="*/ 820076 w 2602819"/>
              <a:gd name="connsiteY18" fmla="*/ 1705718 h 2020595"/>
              <a:gd name="connsiteX19" fmla="*/ 842190 w 2602819"/>
              <a:gd name="connsiteY19" fmla="*/ 1671108 h 2020595"/>
              <a:gd name="connsiteX20" fmla="*/ 708812 w 2602819"/>
              <a:gd name="connsiteY20" fmla="*/ 1486544 h 2020595"/>
              <a:gd name="connsiteX21" fmla="*/ 490241 w 2602819"/>
              <a:gd name="connsiteY21" fmla="*/ 1550425 h 2020595"/>
              <a:gd name="connsiteX22" fmla="*/ 486276 w 2602819"/>
              <a:gd name="connsiteY22" fmla="*/ 1589093 h 2020595"/>
              <a:gd name="connsiteX23" fmla="*/ 485830 w 2602819"/>
              <a:gd name="connsiteY23" fmla="*/ 1588938 h 2020595"/>
              <a:gd name="connsiteX24" fmla="*/ 438679 w 2602819"/>
              <a:gd name="connsiteY24" fmla="*/ 1766044 h 2020595"/>
              <a:gd name="connsiteX25" fmla="*/ 0 w 2602819"/>
              <a:gd name="connsiteY25" fmla="*/ 1624469 h 2020595"/>
              <a:gd name="connsiteX26" fmla="*/ 2196607 w 2602819"/>
              <a:gd name="connsiteY26" fmla="*/ 0 h 2020595"/>
              <a:gd name="connsiteX0" fmla="*/ 2253562 w 2602819"/>
              <a:gd name="connsiteY0" fmla="*/ 0 h 2025341"/>
              <a:gd name="connsiteX1" fmla="*/ 2237414 w 2602819"/>
              <a:gd name="connsiteY1" fmla="*/ 508010 h 2025341"/>
              <a:gd name="connsiteX2" fmla="*/ 2433635 w 2602819"/>
              <a:gd name="connsiteY2" fmla="*/ 515272 h 2025341"/>
              <a:gd name="connsiteX3" fmla="*/ 2433632 w 2602819"/>
              <a:gd name="connsiteY3" fmla="*/ 515744 h 2025341"/>
              <a:gd name="connsiteX4" fmla="*/ 2471496 w 2602819"/>
              <a:gd name="connsiteY4" fmla="*/ 506952 h 2025341"/>
              <a:gd name="connsiteX5" fmla="*/ 2602819 w 2602819"/>
              <a:gd name="connsiteY5" fmla="*/ 692985 h 2025341"/>
              <a:gd name="connsiteX6" fmla="*/ 2471496 w 2602819"/>
              <a:gd name="connsiteY6" fmla="*/ 879017 h 2025341"/>
              <a:gd name="connsiteX7" fmla="*/ 2431585 w 2602819"/>
              <a:gd name="connsiteY7" fmla="*/ 869325 h 2025341"/>
              <a:gd name="connsiteX8" fmla="*/ 2431583 w 2602819"/>
              <a:gd name="connsiteY8" fmla="*/ 869733 h 2025341"/>
              <a:gd name="connsiteX9" fmla="*/ 2428943 w 2602819"/>
              <a:gd name="connsiteY9" fmla="*/ 868164 h 2025341"/>
              <a:gd name="connsiteX10" fmla="*/ 2412787 w 2602819"/>
              <a:gd name="connsiteY10" fmla="*/ 858560 h 2025341"/>
              <a:gd name="connsiteX11" fmla="*/ 2236999 w 2602819"/>
              <a:gd name="connsiteY11" fmla="*/ 880235 h 2025341"/>
              <a:gd name="connsiteX12" fmla="*/ 2239324 w 2602819"/>
              <a:gd name="connsiteY12" fmla="*/ 1312339 h 2025341"/>
              <a:gd name="connsiteX13" fmla="*/ 1246138 w 2602819"/>
              <a:gd name="connsiteY13" fmla="*/ 2025341 h 2025341"/>
              <a:gd name="connsiteX14" fmla="*/ 743931 w 2602819"/>
              <a:gd name="connsiteY14" fmla="*/ 1867738 h 2025341"/>
              <a:gd name="connsiteX15" fmla="*/ 803796 w 2602819"/>
              <a:gd name="connsiteY15" fmla="*/ 1724753 h 2025341"/>
              <a:gd name="connsiteX16" fmla="*/ 818121 w 2602819"/>
              <a:gd name="connsiteY16" fmla="*/ 1712586 h 2025341"/>
              <a:gd name="connsiteX17" fmla="*/ 820461 w 2602819"/>
              <a:gd name="connsiteY17" fmla="*/ 1710598 h 2025341"/>
              <a:gd name="connsiteX18" fmla="*/ 820076 w 2602819"/>
              <a:gd name="connsiteY18" fmla="*/ 1710464 h 2025341"/>
              <a:gd name="connsiteX19" fmla="*/ 842190 w 2602819"/>
              <a:gd name="connsiteY19" fmla="*/ 1675854 h 2025341"/>
              <a:gd name="connsiteX20" fmla="*/ 708812 w 2602819"/>
              <a:gd name="connsiteY20" fmla="*/ 1491290 h 2025341"/>
              <a:gd name="connsiteX21" fmla="*/ 490241 w 2602819"/>
              <a:gd name="connsiteY21" fmla="*/ 1555171 h 2025341"/>
              <a:gd name="connsiteX22" fmla="*/ 486276 w 2602819"/>
              <a:gd name="connsiteY22" fmla="*/ 1593839 h 2025341"/>
              <a:gd name="connsiteX23" fmla="*/ 485830 w 2602819"/>
              <a:gd name="connsiteY23" fmla="*/ 1593684 h 2025341"/>
              <a:gd name="connsiteX24" fmla="*/ 438679 w 2602819"/>
              <a:gd name="connsiteY24" fmla="*/ 1770790 h 2025341"/>
              <a:gd name="connsiteX25" fmla="*/ 0 w 2602819"/>
              <a:gd name="connsiteY25" fmla="*/ 1629215 h 2025341"/>
              <a:gd name="connsiteX26" fmla="*/ 2253562 w 2602819"/>
              <a:gd name="connsiteY26" fmla="*/ 0 h 2025341"/>
              <a:gd name="connsiteX0" fmla="*/ 2234631 w 2602819"/>
              <a:gd name="connsiteY0" fmla="*/ 0 h 2025341"/>
              <a:gd name="connsiteX1" fmla="*/ 2237414 w 2602819"/>
              <a:gd name="connsiteY1" fmla="*/ 508010 h 2025341"/>
              <a:gd name="connsiteX2" fmla="*/ 2433635 w 2602819"/>
              <a:gd name="connsiteY2" fmla="*/ 515272 h 2025341"/>
              <a:gd name="connsiteX3" fmla="*/ 2433632 w 2602819"/>
              <a:gd name="connsiteY3" fmla="*/ 515744 h 2025341"/>
              <a:gd name="connsiteX4" fmla="*/ 2471496 w 2602819"/>
              <a:gd name="connsiteY4" fmla="*/ 506952 h 2025341"/>
              <a:gd name="connsiteX5" fmla="*/ 2602819 w 2602819"/>
              <a:gd name="connsiteY5" fmla="*/ 692985 h 2025341"/>
              <a:gd name="connsiteX6" fmla="*/ 2471496 w 2602819"/>
              <a:gd name="connsiteY6" fmla="*/ 879017 h 2025341"/>
              <a:gd name="connsiteX7" fmla="*/ 2431585 w 2602819"/>
              <a:gd name="connsiteY7" fmla="*/ 869325 h 2025341"/>
              <a:gd name="connsiteX8" fmla="*/ 2431583 w 2602819"/>
              <a:gd name="connsiteY8" fmla="*/ 869733 h 2025341"/>
              <a:gd name="connsiteX9" fmla="*/ 2428943 w 2602819"/>
              <a:gd name="connsiteY9" fmla="*/ 868164 h 2025341"/>
              <a:gd name="connsiteX10" fmla="*/ 2412787 w 2602819"/>
              <a:gd name="connsiteY10" fmla="*/ 858560 h 2025341"/>
              <a:gd name="connsiteX11" fmla="*/ 2236999 w 2602819"/>
              <a:gd name="connsiteY11" fmla="*/ 880235 h 2025341"/>
              <a:gd name="connsiteX12" fmla="*/ 2239324 w 2602819"/>
              <a:gd name="connsiteY12" fmla="*/ 1312339 h 2025341"/>
              <a:gd name="connsiteX13" fmla="*/ 1246138 w 2602819"/>
              <a:gd name="connsiteY13" fmla="*/ 2025341 h 2025341"/>
              <a:gd name="connsiteX14" fmla="*/ 743931 w 2602819"/>
              <a:gd name="connsiteY14" fmla="*/ 1867738 h 2025341"/>
              <a:gd name="connsiteX15" fmla="*/ 803796 w 2602819"/>
              <a:gd name="connsiteY15" fmla="*/ 1724753 h 2025341"/>
              <a:gd name="connsiteX16" fmla="*/ 818121 w 2602819"/>
              <a:gd name="connsiteY16" fmla="*/ 1712586 h 2025341"/>
              <a:gd name="connsiteX17" fmla="*/ 820461 w 2602819"/>
              <a:gd name="connsiteY17" fmla="*/ 1710598 h 2025341"/>
              <a:gd name="connsiteX18" fmla="*/ 820076 w 2602819"/>
              <a:gd name="connsiteY18" fmla="*/ 1710464 h 2025341"/>
              <a:gd name="connsiteX19" fmla="*/ 842190 w 2602819"/>
              <a:gd name="connsiteY19" fmla="*/ 1675854 h 2025341"/>
              <a:gd name="connsiteX20" fmla="*/ 708812 w 2602819"/>
              <a:gd name="connsiteY20" fmla="*/ 1491290 h 2025341"/>
              <a:gd name="connsiteX21" fmla="*/ 490241 w 2602819"/>
              <a:gd name="connsiteY21" fmla="*/ 1555171 h 2025341"/>
              <a:gd name="connsiteX22" fmla="*/ 486276 w 2602819"/>
              <a:gd name="connsiteY22" fmla="*/ 1593839 h 2025341"/>
              <a:gd name="connsiteX23" fmla="*/ 485830 w 2602819"/>
              <a:gd name="connsiteY23" fmla="*/ 1593684 h 2025341"/>
              <a:gd name="connsiteX24" fmla="*/ 438679 w 2602819"/>
              <a:gd name="connsiteY24" fmla="*/ 1770790 h 2025341"/>
              <a:gd name="connsiteX25" fmla="*/ 0 w 2602819"/>
              <a:gd name="connsiteY25" fmla="*/ 1629215 h 2025341"/>
              <a:gd name="connsiteX26" fmla="*/ 2234631 w 2602819"/>
              <a:gd name="connsiteY26" fmla="*/ 0 h 2025341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41730 w 2602819"/>
              <a:gd name="connsiteY26" fmla="*/ 0 h 2022974"/>
              <a:gd name="connsiteX0" fmla="*/ 2241730 w 2602819"/>
              <a:gd name="connsiteY0" fmla="*/ 0 h 2020255"/>
              <a:gd name="connsiteX1" fmla="*/ 2237414 w 2602819"/>
              <a:gd name="connsiteY1" fmla="*/ 502924 h 2020255"/>
              <a:gd name="connsiteX2" fmla="*/ 2433635 w 2602819"/>
              <a:gd name="connsiteY2" fmla="*/ 510186 h 2020255"/>
              <a:gd name="connsiteX3" fmla="*/ 2433632 w 2602819"/>
              <a:gd name="connsiteY3" fmla="*/ 510658 h 2020255"/>
              <a:gd name="connsiteX4" fmla="*/ 2471496 w 2602819"/>
              <a:gd name="connsiteY4" fmla="*/ 501866 h 2020255"/>
              <a:gd name="connsiteX5" fmla="*/ 2602819 w 2602819"/>
              <a:gd name="connsiteY5" fmla="*/ 687899 h 2020255"/>
              <a:gd name="connsiteX6" fmla="*/ 2471496 w 2602819"/>
              <a:gd name="connsiteY6" fmla="*/ 873931 h 2020255"/>
              <a:gd name="connsiteX7" fmla="*/ 2431585 w 2602819"/>
              <a:gd name="connsiteY7" fmla="*/ 864239 h 2020255"/>
              <a:gd name="connsiteX8" fmla="*/ 2431583 w 2602819"/>
              <a:gd name="connsiteY8" fmla="*/ 864647 h 2020255"/>
              <a:gd name="connsiteX9" fmla="*/ 2428943 w 2602819"/>
              <a:gd name="connsiteY9" fmla="*/ 863078 h 2020255"/>
              <a:gd name="connsiteX10" fmla="*/ 2412787 w 2602819"/>
              <a:gd name="connsiteY10" fmla="*/ 853474 h 2020255"/>
              <a:gd name="connsiteX11" fmla="*/ 2236999 w 2602819"/>
              <a:gd name="connsiteY11" fmla="*/ 875149 h 2020255"/>
              <a:gd name="connsiteX12" fmla="*/ 2239324 w 2602819"/>
              <a:gd name="connsiteY12" fmla="*/ 1307253 h 2020255"/>
              <a:gd name="connsiteX13" fmla="*/ 1246138 w 2602819"/>
              <a:gd name="connsiteY13" fmla="*/ 2020255 h 2020255"/>
              <a:gd name="connsiteX14" fmla="*/ 743931 w 2602819"/>
              <a:gd name="connsiteY14" fmla="*/ 1862652 h 2020255"/>
              <a:gd name="connsiteX15" fmla="*/ 803796 w 2602819"/>
              <a:gd name="connsiteY15" fmla="*/ 1719667 h 2020255"/>
              <a:gd name="connsiteX16" fmla="*/ 818121 w 2602819"/>
              <a:gd name="connsiteY16" fmla="*/ 1707500 h 2020255"/>
              <a:gd name="connsiteX17" fmla="*/ 820461 w 2602819"/>
              <a:gd name="connsiteY17" fmla="*/ 1705512 h 2020255"/>
              <a:gd name="connsiteX18" fmla="*/ 820076 w 2602819"/>
              <a:gd name="connsiteY18" fmla="*/ 1705378 h 2020255"/>
              <a:gd name="connsiteX19" fmla="*/ 842190 w 2602819"/>
              <a:gd name="connsiteY19" fmla="*/ 1670768 h 2020255"/>
              <a:gd name="connsiteX20" fmla="*/ 708812 w 2602819"/>
              <a:gd name="connsiteY20" fmla="*/ 1486204 h 2020255"/>
              <a:gd name="connsiteX21" fmla="*/ 490241 w 2602819"/>
              <a:gd name="connsiteY21" fmla="*/ 1550085 h 2020255"/>
              <a:gd name="connsiteX22" fmla="*/ 486276 w 2602819"/>
              <a:gd name="connsiteY22" fmla="*/ 1588753 h 2020255"/>
              <a:gd name="connsiteX23" fmla="*/ 485830 w 2602819"/>
              <a:gd name="connsiteY23" fmla="*/ 1588598 h 2020255"/>
              <a:gd name="connsiteX24" fmla="*/ 438679 w 2602819"/>
              <a:gd name="connsiteY24" fmla="*/ 1765704 h 2020255"/>
              <a:gd name="connsiteX25" fmla="*/ 0 w 2602819"/>
              <a:gd name="connsiteY25" fmla="*/ 1624129 h 2020255"/>
              <a:gd name="connsiteX26" fmla="*/ 2241730 w 2602819"/>
              <a:gd name="connsiteY26" fmla="*/ 0 h 2020255"/>
              <a:gd name="connsiteX0" fmla="*/ 2233573 w 2602819"/>
              <a:gd name="connsiteY0" fmla="*/ 0 h 2017536"/>
              <a:gd name="connsiteX1" fmla="*/ 2237414 w 2602819"/>
              <a:gd name="connsiteY1" fmla="*/ 500205 h 2017536"/>
              <a:gd name="connsiteX2" fmla="*/ 2433635 w 2602819"/>
              <a:gd name="connsiteY2" fmla="*/ 507467 h 2017536"/>
              <a:gd name="connsiteX3" fmla="*/ 2433632 w 2602819"/>
              <a:gd name="connsiteY3" fmla="*/ 507939 h 2017536"/>
              <a:gd name="connsiteX4" fmla="*/ 2471496 w 2602819"/>
              <a:gd name="connsiteY4" fmla="*/ 499147 h 2017536"/>
              <a:gd name="connsiteX5" fmla="*/ 2602819 w 2602819"/>
              <a:gd name="connsiteY5" fmla="*/ 685180 h 2017536"/>
              <a:gd name="connsiteX6" fmla="*/ 2471496 w 2602819"/>
              <a:gd name="connsiteY6" fmla="*/ 871212 h 2017536"/>
              <a:gd name="connsiteX7" fmla="*/ 2431585 w 2602819"/>
              <a:gd name="connsiteY7" fmla="*/ 861520 h 2017536"/>
              <a:gd name="connsiteX8" fmla="*/ 2431583 w 2602819"/>
              <a:gd name="connsiteY8" fmla="*/ 861928 h 2017536"/>
              <a:gd name="connsiteX9" fmla="*/ 2428943 w 2602819"/>
              <a:gd name="connsiteY9" fmla="*/ 860359 h 2017536"/>
              <a:gd name="connsiteX10" fmla="*/ 2412787 w 2602819"/>
              <a:gd name="connsiteY10" fmla="*/ 850755 h 2017536"/>
              <a:gd name="connsiteX11" fmla="*/ 2236999 w 2602819"/>
              <a:gd name="connsiteY11" fmla="*/ 872430 h 2017536"/>
              <a:gd name="connsiteX12" fmla="*/ 2239324 w 2602819"/>
              <a:gd name="connsiteY12" fmla="*/ 1304534 h 2017536"/>
              <a:gd name="connsiteX13" fmla="*/ 1246138 w 2602819"/>
              <a:gd name="connsiteY13" fmla="*/ 2017536 h 2017536"/>
              <a:gd name="connsiteX14" fmla="*/ 743931 w 2602819"/>
              <a:gd name="connsiteY14" fmla="*/ 1859933 h 2017536"/>
              <a:gd name="connsiteX15" fmla="*/ 803796 w 2602819"/>
              <a:gd name="connsiteY15" fmla="*/ 1716948 h 2017536"/>
              <a:gd name="connsiteX16" fmla="*/ 818121 w 2602819"/>
              <a:gd name="connsiteY16" fmla="*/ 1704781 h 2017536"/>
              <a:gd name="connsiteX17" fmla="*/ 820461 w 2602819"/>
              <a:gd name="connsiteY17" fmla="*/ 1702793 h 2017536"/>
              <a:gd name="connsiteX18" fmla="*/ 820076 w 2602819"/>
              <a:gd name="connsiteY18" fmla="*/ 1702659 h 2017536"/>
              <a:gd name="connsiteX19" fmla="*/ 842190 w 2602819"/>
              <a:gd name="connsiteY19" fmla="*/ 1668049 h 2017536"/>
              <a:gd name="connsiteX20" fmla="*/ 708812 w 2602819"/>
              <a:gd name="connsiteY20" fmla="*/ 1483485 h 2017536"/>
              <a:gd name="connsiteX21" fmla="*/ 490241 w 2602819"/>
              <a:gd name="connsiteY21" fmla="*/ 1547366 h 2017536"/>
              <a:gd name="connsiteX22" fmla="*/ 486276 w 2602819"/>
              <a:gd name="connsiteY22" fmla="*/ 1586034 h 2017536"/>
              <a:gd name="connsiteX23" fmla="*/ 485830 w 2602819"/>
              <a:gd name="connsiteY23" fmla="*/ 1585879 h 2017536"/>
              <a:gd name="connsiteX24" fmla="*/ 438679 w 2602819"/>
              <a:gd name="connsiteY24" fmla="*/ 1762985 h 2017536"/>
              <a:gd name="connsiteX25" fmla="*/ 0 w 2602819"/>
              <a:gd name="connsiteY25" fmla="*/ 1621410 h 2017536"/>
              <a:gd name="connsiteX26" fmla="*/ 2233573 w 2602819"/>
              <a:gd name="connsiteY26" fmla="*/ 0 h 2017536"/>
              <a:gd name="connsiteX0" fmla="*/ 2233573 w 2602819"/>
              <a:gd name="connsiteY0" fmla="*/ 0 h 2017536"/>
              <a:gd name="connsiteX1" fmla="*/ 2237414 w 2602819"/>
              <a:gd name="connsiteY1" fmla="*/ 500205 h 2017536"/>
              <a:gd name="connsiteX2" fmla="*/ 2433635 w 2602819"/>
              <a:gd name="connsiteY2" fmla="*/ 507467 h 2017536"/>
              <a:gd name="connsiteX3" fmla="*/ 2433632 w 2602819"/>
              <a:gd name="connsiteY3" fmla="*/ 507939 h 2017536"/>
              <a:gd name="connsiteX4" fmla="*/ 2471496 w 2602819"/>
              <a:gd name="connsiteY4" fmla="*/ 499147 h 2017536"/>
              <a:gd name="connsiteX5" fmla="*/ 2602819 w 2602819"/>
              <a:gd name="connsiteY5" fmla="*/ 685180 h 2017536"/>
              <a:gd name="connsiteX6" fmla="*/ 2471496 w 2602819"/>
              <a:gd name="connsiteY6" fmla="*/ 871212 h 2017536"/>
              <a:gd name="connsiteX7" fmla="*/ 2431585 w 2602819"/>
              <a:gd name="connsiteY7" fmla="*/ 861520 h 2017536"/>
              <a:gd name="connsiteX8" fmla="*/ 2431583 w 2602819"/>
              <a:gd name="connsiteY8" fmla="*/ 861928 h 2017536"/>
              <a:gd name="connsiteX9" fmla="*/ 2428943 w 2602819"/>
              <a:gd name="connsiteY9" fmla="*/ 860359 h 2017536"/>
              <a:gd name="connsiteX10" fmla="*/ 2412787 w 2602819"/>
              <a:gd name="connsiteY10" fmla="*/ 850755 h 2017536"/>
              <a:gd name="connsiteX11" fmla="*/ 2236999 w 2602819"/>
              <a:gd name="connsiteY11" fmla="*/ 872430 h 2017536"/>
              <a:gd name="connsiteX12" fmla="*/ 2239324 w 2602819"/>
              <a:gd name="connsiteY12" fmla="*/ 1304534 h 2017536"/>
              <a:gd name="connsiteX13" fmla="*/ 1246138 w 2602819"/>
              <a:gd name="connsiteY13" fmla="*/ 2017536 h 2017536"/>
              <a:gd name="connsiteX14" fmla="*/ 743931 w 2602819"/>
              <a:gd name="connsiteY14" fmla="*/ 1859933 h 2017536"/>
              <a:gd name="connsiteX15" fmla="*/ 803796 w 2602819"/>
              <a:gd name="connsiteY15" fmla="*/ 1716948 h 2017536"/>
              <a:gd name="connsiteX16" fmla="*/ 818121 w 2602819"/>
              <a:gd name="connsiteY16" fmla="*/ 1704781 h 2017536"/>
              <a:gd name="connsiteX17" fmla="*/ 820461 w 2602819"/>
              <a:gd name="connsiteY17" fmla="*/ 1702793 h 2017536"/>
              <a:gd name="connsiteX18" fmla="*/ 820076 w 2602819"/>
              <a:gd name="connsiteY18" fmla="*/ 1702659 h 2017536"/>
              <a:gd name="connsiteX19" fmla="*/ 842190 w 2602819"/>
              <a:gd name="connsiteY19" fmla="*/ 1668049 h 2017536"/>
              <a:gd name="connsiteX20" fmla="*/ 708812 w 2602819"/>
              <a:gd name="connsiteY20" fmla="*/ 1483485 h 2017536"/>
              <a:gd name="connsiteX21" fmla="*/ 490241 w 2602819"/>
              <a:gd name="connsiteY21" fmla="*/ 1547366 h 2017536"/>
              <a:gd name="connsiteX22" fmla="*/ 486276 w 2602819"/>
              <a:gd name="connsiteY22" fmla="*/ 1586034 h 2017536"/>
              <a:gd name="connsiteX23" fmla="*/ 485830 w 2602819"/>
              <a:gd name="connsiteY23" fmla="*/ 1585879 h 2017536"/>
              <a:gd name="connsiteX24" fmla="*/ 438679 w 2602819"/>
              <a:gd name="connsiteY24" fmla="*/ 1762985 h 2017536"/>
              <a:gd name="connsiteX25" fmla="*/ 0 w 2602819"/>
              <a:gd name="connsiteY25" fmla="*/ 1621410 h 2017536"/>
              <a:gd name="connsiteX26" fmla="*/ 2233573 w 2602819"/>
              <a:gd name="connsiteY26" fmla="*/ 0 h 2017536"/>
              <a:gd name="connsiteX0" fmla="*/ 2239010 w 2602819"/>
              <a:gd name="connsiteY0" fmla="*/ 0 h 2022974"/>
              <a:gd name="connsiteX1" fmla="*/ 2237414 w 2602819"/>
              <a:gd name="connsiteY1" fmla="*/ 505643 h 2022974"/>
              <a:gd name="connsiteX2" fmla="*/ 2433635 w 2602819"/>
              <a:gd name="connsiteY2" fmla="*/ 512905 h 2022974"/>
              <a:gd name="connsiteX3" fmla="*/ 2433632 w 2602819"/>
              <a:gd name="connsiteY3" fmla="*/ 513377 h 2022974"/>
              <a:gd name="connsiteX4" fmla="*/ 2471496 w 2602819"/>
              <a:gd name="connsiteY4" fmla="*/ 504585 h 2022974"/>
              <a:gd name="connsiteX5" fmla="*/ 2602819 w 2602819"/>
              <a:gd name="connsiteY5" fmla="*/ 690618 h 2022974"/>
              <a:gd name="connsiteX6" fmla="*/ 2471496 w 2602819"/>
              <a:gd name="connsiteY6" fmla="*/ 876650 h 2022974"/>
              <a:gd name="connsiteX7" fmla="*/ 2431585 w 2602819"/>
              <a:gd name="connsiteY7" fmla="*/ 866958 h 2022974"/>
              <a:gd name="connsiteX8" fmla="*/ 2431583 w 2602819"/>
              <a:gd name="connsiteY8" fmla="*/ 867366 h 2022974"/>
              <a:gd name="connsiteX9" fmla="*/ 2428943 w 2602819"/>
              <a:gd name="connsiteY9" fmla="*/ 865797 h 2022974"/>
              <a:gd name="connsiteX10" fmla="*/ 2412787 w 2602819"/>
              <a:gd name="connsiteY10" fmla="*/ 856193 h 2022974"/>
              <a:gd name="connsiteX11" fmla="*/ 2236999 w 2602819"/>
              <a:gd name="connsiteY11" fmla="*/ 877868 h 2022974"/>
              <a:gd name="connsiteX12" fmla="*/ 2239324 w 2602819"/>
              <a:gd name="connsiteY12" fmla="*/ 1309972 h 2022974"/>
              <a:gd name="connsiteX13" fmla="*/ 1246138 w 2602819"/>
              <a:gd name="connsiteY13" fmla="*/ 2022974 h 2022974"/>
              <a:gd name="connsiteX14" fmla="*/ 743931 w 2602819"/>
              <a:gd name="connsiteY14" fmla="*/ 1865371 h 2022974"/>
              <a:gd name="connsiteX15" fmla="*/ 803796 w 2602819"/>
              <a:gd name="connsiteY15" fmla="*/ 1722386 h 2022974"/>
              <a:gd name="connsiteX16" fmla="*/ 818121 w 2602819"/>
              <a:gd name="connsiteY16" fmla="*/ 1710219 h 2022974"/>
              <a:gd name="connsiteX17" fmla="*/ 820461 w 2602819"/>
              <a:gd name="connsiteY17" fmla="*/ 1708231 h 2022974"/>
              <a:gd name="connsiteX18" fmla="*/ 820076 w 2602819"/>
              <a:gd name="connsiteY18" fmla="*/ 1708097 h 2022974"/>
              <a:gd name="connsiteX19" fmla="*/ 842190 w 2602819"/>
              <a:gd name="connsiteY19" fmla="*/ 1673487 h 2022974"/>
              <a:gd name="connsiteX20" fmla="*/ 708812 w 2602819"/>
              <a:gd name="connsiteY20" fmla="*/ 1488923 h 2022974"/>
              <a:gd name="connsiteX21" fmla="*/ 490241 w 2602819"/>
              <a:gd name="connsiteY21" fmla="*/ 1552804 h 2022974"/>
              <a:gd name="connsiteX22" fmla="*/ 486276 w 2602819"/>
              <a:gd name="connsiteY22" fmla="*/ 1591472 h 2022974"/>
              <a:gd name="connsiteX23" fmla="*/ 485830 w 2602819"/>
              <a:gd name="connsiteY23" fmla="*/ 1591317 h 2022974"/>
              <a:gd name="connsiteX24" fmla="*/ 438679 w 2602819"/>
              <a:gd name="connsiteY24" fmla="*/ 1768423 h 2022974"/>
              <a:gd name="connsiteX25" fmla="*/ 0 w 2602819"/>
              <a:gd name="connsiteY25" fmla="*/ 1626848 h 2022974"/>
              <a:gd name="connsiteX26" fmla="*/ 2239010 w 2602819"/>
              <a:gd name="connsiteY26" fmla="*/ 0 h 2022974"/>
              <a:gd name="connsiteX0" fmla="*/ 2236292 w 2602819"/>
              <a:gd name="connsiteY0" fmla="*/ 0 h 2017537"/>
              <a:gd name="connsiteX1" fmla="*/ 2237414 w 2602819"/>
              <a:gd name="connsiteY1" fmla="*/ 500206 h 2017537"/>
              <a:gd name="connsiteX2" fmla="*/ 2433635 w 2602819"/>
              <a:gd name="connsiteY2" fmla="*/ 507468 h 2017537"/>
              <a:gd name="connsiteX3" fmla="*/ 2433632 w 2602819"/>
              <a:gd name="connsiteY3" fmla="*/ 507940 h 2017537"/>
              <a:gd name="connsiteX4" fmla="*/ 2471496 w 2602819"/>
              <a:gd name="connsiteY4" fmla="*/ 499148 h 2017537"/>
              <a:gd name="connsiteX5" fmla="*/ 2602819 w 2602819"/>
              <a:gd name="connsiteY5" fmla="*/ 685181 h 2017537"/>
              <a:gd name="connsiteX6" fmla="*/ 2471496 w 2602819"/>
              <a:gd name="connsiteY6" fmla="*/ 871213 h 2017537"/>
              <a:gd name="connsiteX7" fmla="*/ 2431585 w 2602819"/>
              <a:gd name="connsiteY7" fmla="*/ 861521 h 2017537"/>
              <a:gd name="connsiteX8" fmla="*/ 2431583 w 2602819"/>
              <a:gd name="connsiteY8" fmla="*/ 861929 h 2017537"/>
              <a:gd name="connsiteX9" fmla="*/ 2428943 w 2602819"/>
              <a:gd name="connsiteY9" fmla="*/ 860360 h 2017537"/>
              <a:gd name="connsiteX10" fmla="*/ 2412787 w 2602819"/>
              <a:gd name="connsiteY10" fmla="*/ 850756 h 2017537"/>
              <a:gd name="connsiteX11" fmla="*/ 2236999 w 2602819"/>
              <a:gd name="connsiteY11" fmla="*/ 872431 h 2017537"/>
              <a:gd name="connsiteX12" fmla="*/ 2239324 w 2602819"/>
              <a:gd name="connsiteY12" fmla="*/ 1304535 h 2017537"/>
              <a:gd name="connsiteX13" fmla="*/ 1246138 w 2602819"/>
              <a:gd name="connsiteY13" fmla="*/ 2017537 h 2017537"/>
              <a:gd name="connsiteX14" fmla="*/ 743931 w 2602819"/>
              <a:gd name="connsiteY14" fmla="*/ 1859934 h 2017537"/>
              <a:gd name="connsiteX15" fmla="*/ 803796 w 2602819"/>
              <a:gd name="connsiteY15" fmla="*/ 1716949 h 2017537"/>
              <a:gd name="connsiteX16" fmla="*/ 818121 w 2602819"/>
              <a:gd name="connsiteY16" fmla="*/ 1704782 h 2017537"/>
              <a:gd name="connsiteX17" fmla="*/ 820461 w 2602819"/>
              <a:gd name="connsiteY17" fmla="*/ 1702794 h 2017537"/>
              <a:gd name="connsiteX18" fmla="*/ 820076 w 2602819"/>
              <a:gd name="connsiteY18" fmla="*/ 1702660 h 2017537"/>
              <a:gd name="connsiteX19" fmla="*/ 842190 w 2602819"/>
              <a:gd name="connsiteY19" fmla="*/ 1668050 h 2017537"/>
              <a:gd name="connsiteX20" fmla="*/ 708812 w 2602819"/>
              <a:gd name="connsiteY20" fmla="*/ 1483486 h 2017537"/>
              <a:gd name="connsiteX21" fmla="*/ 490241 w 2602819"/>
              <a:gd name="connsiteY21" fmla="*/ 1547367 h 2017537"/>
              <a:gd name="connsiteX22" fmla="*/ 486276 w 2602819"/>
              <a:gd name="connsiteY22" fmla="*/ 1586035 h 2017537"/>
              <a:gd name="connsiteX23" fmla="*/ 485830 w 2602819"/>
              <a:gd name="connsiteY23" fmla="*/ 1585880 h 2017537"/>
              <a:gd name="connsiteX24" fmla="*/ 438679 w 2602819"/>
              <a:gd name="connsiteY24" fmla="*/ 1762986 h 2017537"/>
              <a:gd name="connsiteX25" fmla="*/ 0 w 2602819"/>
              <a:gd name="connsiteY25" fmla="*/ 1621411 h 2017537"/>
              <a:gd name="connsiteX26" fmla="*/ 2236292 w 2602819"/>
              <a:gd name="connsiteY26" fmla="*/ 0 h 2017537"/>
              <a:gd name="connsiteX0" fmla="*/ 2233573 w 2602819"/>
              <a:gd name="connsiteY0" fmla="*/ 0 h 2017537"/>
              <a:gd name="connsiteX1" fmla="*/ 2237414 w 2602819"/>
              <a:gd name="connsiteY1" fmla="*/ 500206 h 2017537"/>
              <a:gd name="connsiteX2" fmla="*/ 2433635 w 2602819"/>
              <a:gd name="connsiteY2" fmla="*/ 507468 h 2017537"/>
              <a:gd name="connsiteX3" fmla="*/ 2433632 w 2602819"/>
              <a:gd name="connsiteY3" fmla="*/ 507940 h 2017537"/>
              <a:gd name="connsiteX4" fmla="*/ 2471496 w 2602819"/>
              <a:gd name="connsiteY4" fmla="*/ 499148 h 2017537"/>
              <a:gd name="connsiteX5" fmla="*/ 2602819 w 2602819"/>
              <a:gd name="connsiteY5" fmla="*/ 685181 h 2017537"/>
              <a:gd name="connsiteX6" fmla="*/ 2471496 w 2602819"/>
              <a:gd name="connsiteY6" fmla="*/ 871213 h 2017537"/>
              <a:gd name="connsiteX7" fmla="*/ 2431585 w 2602819"/>
              <a:gd name="connsiteY7" fmla="*/ 861521 h 2017537"/>
              <a:gd name="connsiteX8" fmla="*/ 2431583 w 2602819"/>
              <a:gd name="connsiteY8" fmla="*/ 861929 h 2017537"/>
              <a:gd name="connsiteX9" fmla="*/ 2428943 w 2602819"/>
              <a:gd name="connsiteY9" fmla="*/ 860360 h 2017537"/>
              <a:gd name="connsiteX10" fmla="*/ 2412787 w 2602819"/>
              <a:gd name="connsiteY10" fmla="*/ 850756 h 2017537"/>
              <a:gd name="connsiteX11" fmla="*/ 2236999 w 2602819"/>
              <a:gd name="connsiteY11" fmla="*/ 872431 h 2017537"/>
              <a:gd name="connsiteX12" fmla="*/ 2239324 w 2602819"/>
              <a:gd name="connsiteY12" fmla="*/ 1304535 h 2017537"/>
              <a:gd name="connsiteX13" fmla="*/ 1246138 w 2602819"/>
              <a:gd name="connsiteY13" fmla="*/ 2017537 h 2017537"/>
              <a:gd name="connsiteX14" fmla="*/ 743931 w 2602819"/>
              <a:gd name="connsiteY14" fmla="*/ 1859934 h 2017537"/>
              <a:gd name="connsiteX15" fmla="*/ 803796 w 2602819"/>
              <a:gd name="connsiteY15" fmla="*/ 1716949 h 2017537"/>
              <a:gd name="connsiteX16" fmla="*/ 818121 w 2602819"/>
              <a:gd name="connsiteY16" fmla="*/ 1704782 h 2017537"/>
              <a:gd name="connsiteX17" fmla="*/ 820461 w 2602819"/>
              <a:gd name="connsiteY17" fmla="*/ 1702794 h 2017537"/>
              <a:gd name="connsiteX18" fmla="*/ 820076 w 2602819"/>
              <a:gd name="connsiteY18" fmla="*/ 1702660 h 2017537"/>
              <a:gd name="connsiteX19" fmla="*/ 842190 w 2602819"/>
              <a:gd name="connsiteY19" fmla="*/ 1668050 h 2017537"/>
              <a:gd name="connsiteX20" fmla="*/ 708812 w 2602819"/>
              <a:gd name="connsiteY20" fmla="*/ 1483486 h 2017537"/>
              <a:gd name="connsiteX21" fmla="*/ 490241 w 2602819"/>
              <a:gd name="connsiteY21" fmla="*/ 1547367 h 2017537"/>
              <a:gd name="connsiteX22" fmla="*/ 486276 w 2602819"/>
              <a:gd name="connsiteY22" fmla="*/ 1586035 h 2017537"/>
              <a:gd name="connsiteX23" fmla="*/ 485830 w 2602819"/>
              <a:gd name="connsiteY23" fmla="*/ 1585880 h 2017537"/>
              <a:gd name="connsiteX24" fmla="*/ 438679 w 2602819"/>
              <a:gd name="connsiteY24" fmla="*/ 1762986 h 2017537"/>
              <a:gd name="connsiteX25" fmla="*/ 0 w 2602819"/>
              <a:gd name="connsiteY25" fmla="*/ 1621411 h 2017537"/>
              <a:gd name="connsiteX26" fmla="*/ 2233573 w 2602819"/>
              <a:gd name="connsiteY26" fmla="*/ 0 h 2017537"/>
              <a:gd name="connsiteX0" fmla="*/ 2233573 w 2602819"/>
              <a:gd name="connsiteY0" fmla="*/ 0 h 2020256"/>
              <a:gd name="connsiteX1" fmla="*/ 2237414 w 2602819"/>
              <a:gd name="connsiteY1" fmla="*/ 502925 h 2020256"/>
              <a:gd name="connsiteX2" fmla="*/ 2433635 w 2602819"/>
              <a:gd name="connsiteY2" fmla="*/ 510187 h 2020256"/>
              <a:gd name="connsiteX3" fmla="*/ 2433632 w 2602819"/>
              <a:gd name="connsiteY3" fmla="*/ 510659 h 2020256"/>
              <a:gd name="connsiteX4" fmla="*/ 2471496 w 2602819"/>
              <a:gd name="connsiteY4" fmla="*/ 501867 h 2020256"/>
              <a:gd name="connsiteX5" fmla="*/ 2602819 w 2602819"/>
              <a:gd name="connsiteY5" fmla="*/ 687900 h 2020256"/>
              <a:gd name="connsiteX6" fmla="*/ 2471496 w 2602819"/>
              <a:gd name="connsiteY6" fmla="*/ 873932 h 2020256"/>
              <a:gd name="connsiteX7" fmla="*/ 2431585 w 2602819"/>
              <a:gd name="connsiteY7" fmla="*/ 864240 h 2020256"/>
              <a:gd name="connsiteX8" fmla="*/ 2431583 w 2602819"/>
              <a:gd name="connsiteY8" fmla="*/ 864648 h 2020256"/>
              <a:gd name="connsiteX9" fmla="*/ 2428943 w 2602819"/>
              <a:gd name="connsiteY9" fmla="*/ 863079 h 2020256"/>
              <a:gd name="connsiteX10" fmla="*/ 2412787 w 2602819"/>
              <a:gd name="connsiteY10" fmla="*/ 853475 h 2020256"/>
              <a:gd name="connsiteX11" fmla="*/ 2236999 w 2602819"/>
              <a:gd name="connsiteY11" fmla="*/ 875150 h 2020256"/>
              <a:gd name="connsiteX12" fmla="*/ 2239324 w 2602819"/>
              <a:gd name="connsiteY12" fmla="*/ 1307254 h 2020256"/>
              <a:gd name="connsiteX13" fmla="*/ 1246138 w 2602819"/>
              <a:gd name="connsiteY13" fmla="*/ 2020256 h 2020256"/>
              <a:gd name="connsiteX14" fmla="*/ 743931 w 2602819"/>
              <a:gd name="connsiteY14" fmla="*/ 1862653 h 2020256"/>
              <a:gd name="connsiteX15" fmla="*/ 803796 w 2602819"/>
              <a:gd name="connsiteY15" fmla="*/ 1719668 h 2020256"/>
              <a:gd name="connsiteX16" fmla="*/ 818121 w 2602819"/>
              <a:gd name="connsiteY16" fmla="*/ 1707501 h 2020256"/>
              <a:gd name="connsiteX17" fmla="*/ 820461 w 2602819"/>
              <a:gd name="connsiteY17" fmla="*/ 1705513 h 2020256"/>
              <a:gd name="connsiteX18" fmla="*/ 820076 w 2602819"/>
              <a:gd name="connsiteY18" fmla="*/ 1705379 h 2020256"/>
              <a:gd name="connsiteX19" fmla="*/ 842190 w 2602819"/>
              <a:gd name="connsiteY19" fmla="*/ 1670769 h 2020256"/>
              <a:gd name="connsiteX20" fmla="*/ 708812 w 2602819"/>
              <a:gd name="connsiteY20" fmla="*/ 1486205 h 2020256"/>
              <a:gd name="connsiteX21" fmla="*/ 490241 w 2602819"/>
              <a:gd name="connsiteY21" fmla="*/ 1550086 h 2020256"/>
              <a:gd name="connsiteX22" fmla="*/ 486276 w 2602819"/>
              <a:gd name="connsiteY22" fmla="*/ 1588754 h 2020256"/>
              <a:gd name="connsiteX23" fmla="*/ 485830 w 2602819"/>
              <a:gd name="connsiteY23" fmla="*/ 1588599 h 2020256"/>
              <a:gd name="connsiteX24" fmla="*/ 438679 w 2602819"/>
              <a:gd name="connsiteY24" fmla="*/ 1765705 h 2020256"/>
              <a:gd name="connsiteX25" fmla="*/ 0 w 2602819"/>
              <a:gd name="connsiteY25" fmla="*/ 1624130 h 2020256"/>
              <a:gd name="connsiteX26" fmla="*/ 2233573 w 2602819"/>
              <a:gd name="connsiteY26" fmla="*/ 0 h 2020256"/>
              <a:gd name="connsiteX0" fmla="*/ 2233573 w 2602819"/>
              <a:gd name="connsiteY0" fmla="*/ 0 h 2020256"/>
              <a:gd name="connsiteX1" fmla="*/ 2237414 w 2602819"/>
              <a:gd name="connsiteY1" fmla="*/ 502925 h 2020256"/>
              <a:gd name="connsiteX2" fmla="*/ 2433635 w 2602819"/>
              <a:gd name="connsiteY2" fmla="*/ 510187 h 2020256"/>
              <a:gd name="connsiteX3" fmla="*/ 2433632 w 2602819"/>
              <a:gd name="connsiteY3" fmla="*/ 510659 h 2020256"/>
              <a:gd name="connsiteX4" fmla="*/ 2471496 w 2602819"/>
              <a:gd name="connsiteY4" fmla="*/ 501867 h 2020256"/>
              <a:gd name="connsiteX5" fmla="*/ 2602819 w 2602819"/>
              <a:gd name="connsiteY5" fmla="*/ 687900 h 2020256"/>
              <a:gd name="connsiteX6" fmla="*/ 2471496 w 2602819"/>
              <a:gd name="connsiteY6" fmla="*/ 873932 h 2020256"/>
              <a:gd name="connsiteX7" fmla="*/ 2431585 w 2602819"/>
              <a:gd name="connsiteY7" fmla="*/ 864240 h 2020256"/>
              <a:gd name="connsiteX8" fmla="*/ 2431583 w 2602819"/>
              <a:gd name="connsiteY8" fmla="*/ 864648 h 2020256"/>
              <a:gd name="connsiteX9" fmla="*/ 2428943 w 2602819"/>
              <a:gd name="connsiteY9" fmla="*/ 863079 h 2020256"/>
              <a:gd name="connsiteX10" fmla="*/ 2412787 w 2602819"/>
              <a:gd name="connsiteY10" fmla="*/ 853475 h 2020256"/>
              <a:gd name="connsiteX11" fmla="*/ 2236999 w 2602819"/>
              <a:gd name="connsiteY11" fmla="*/ 875150 h 2020256"/>
              <a:gd name="connsiteX12" fmla="*/ 2239324 w 2602819"/>
              <a:gd name="connsiteY12" fmla="*/ 1307254 h 2020256"/>
              <a:gd name="connsiteX13" fmla="*/ 1246138 w 2602819"/>
              <a:gd name="connsiteY13" fmla="*/ 2020256 h 2020256"/>
              <a:gd name="connsiteX14" fmla="*/ 743931 w 2602819"/>
              <a:gd name="connsiteY14" fmla="*/ 1862653 h 2020256"/>
              <a:gd name="connsiteX15" fmla="*/ 803796 w 2602819"/>
              <a:gd name="connsiteY15" fmla="*/ 1719668 h 2020256"/>
              <a:gd name="connsiteX16" fmla="*/ 818121 w 2602819"/>
              <a:gd name="connsiteY16" fmla="*/ 1707501 h 2020256"/>
              <a:gd name="connsiteX17" fmla="*/ 820461 w 2602819"/>
              <a:gd name="connsiteY17" fmla="*/ 1705513 h 2020256"/>
              <a:gd name="connsiteX18" fmla="*/ 820076 w 2602819"/>
              <a:gd name="connsiteY18" fmla="*/ 1705379 h 2020256"/>
              <a:gd name="connsiteX19" fmla="*/ 842190 w 2602819"/>
              <a:gd name="connsiteY19" fmla="*/ 1670769 h 2020256"/>
              <a:gd name="connsiteX20" fmla="*/ 708812 w 2602819"/>
              <a:gd name="connsiteY20" fmla="*/ 1486205 h 2020256"/>
              <a:gd name="connsiteX21" fmla="*/ 490241 w 2602819"/>
              <a:gd name="connsiteY21" fmla="*/ 1550086 h 2020256"/>
              <a:gd name="connsiteX22" fmla="*/ 486276 w 2602819"/>
              <a:gd name="connsiteY22" fmla="*/ 1588754 h 2020256"/>
              <a:gd name="connsiteX23" fmla="*/ 485830 w 2602819"/>
              <a:gd name="connsiteY23" fmla="*/ 1588599 h 2020256"/>
              <a:gd name="connsiteX24" fmla="*/ 438679 w 2602819"/>
              <a:gd name="connsiteY24" fmla="*/ 1765705 h 2020256"/>
              <a:gd name="connsiteX25" fmla="*/ 0 w 2602819"/>
              <a:gd name="connsiteY25" fmla="*/ 1624130 h 2020256"/>
              <a:gd name="connsiteX26" fmla="*/ 2233573 w 2602819"/>
              <a:gd name="connsiteY26" fmla="*/ 0 h 2020256"/>
              <a:gd name="connsiteX0" fmla="*/ 2233573 w 2602819"/>
              <a:gd name="connsiteY0" fmla="*/ 0 h 2021330"/>
              <a:gd name="connsiteX1" fmla="*/ 2237414 w 2602819"/>
              <a:gd name="connsiteY1" fmla="*/ 502925 h 2021330"/>
              <a:gd name="connsiteX2" fmla="*/ 2433635 w 2602819"/>
              <a:gd name="connsiteY2" fmla="*/ 510187 h 2021330"/>
              <a:gd name="connsiteX3" fmla="*/ 2433632 w 2602819"/>
              <a:gd name="connsiteY3" fmla="*/ 510659 h 2021330"/>
              <a:gd name="connsiteX4" fmla="*/ 2471496 w 2602819"/>
              <a:gd name="connsiteY4" fmla="*/ 501867 h 2021330"/>
              <a:gd name="connsiteX5" fmla="*/ 2602819 w 2602819"/>
              <a:gd name="connsiteY5" fmla="*/ 687900 h 2021330"/>
              <a:gd name="connsiteX6" fmla="*/ 2471496 w 2602819"/>
              <a:gd name="connsiteY6" fmla="*/ 873932 h 2021330"/>
              <a:gd name="connsiteX7" fmla="*/ 2431585 w 2602819"/>
              <a:gd name="connsiteY7" fmla="*/ 864240 h 2021330"/>
              <a:gd name="connsiteX8" fmla="*/ 2431583 w 2602819"/>
              <a:gd name="connsiteY8" fmla="*/ 864648 h 2021330"/>
              <a:gd name="connsiteX9" fmla="*/ 2428943 w 2602819"/>
              <a:gd name="connsiteY9" fmla="*/ 863079 h 2021330"/>
              <a:gd name="connsiteX10" fmla="*/ 2412787 w 2602819"/>
              <a:gd name="connsiteY10" fmla="*/ 853475 h 2021330"/>
              <a:gd name="connsiteX11" fmla="*/ 2236999 w 2602819"/>
              <a:gd name="connsiteY11" fmla="*/ 875150 h 2021330"/>
              <a:gd name="connsiteX12" fmla="*/ 2239324 w 2602819"/>
              <a:gd name="connsiteY12" fmla="*/ 1307254 h 2021330"/>
              <a:gd name="connsiteX13" fmla="*/ 1246138 w 2602819"/>
              <a:gd name="connsiteY13" fmla="*/ 2020256 h 2021330"/>
              <a:gd name="connsiteX14" fmla="*/ 743931 w 2602819"/>
              <a:gd name="connsiteY14" fmla="*/ 1862653 h 2021330"/>
              <a:gd name="connsiteX15" fmla="*/ 803796 w 2602819"/>
              <a:gd name="connsiteY15" fmla="*/ 1719668 h 2021330"/>
              <a:gd name="connsiteX16" fmla="*/ 818121 w 2602819"/>
              <a:gd name="connsiteY16" fmla="*/ 1707501 h 2021330"/>
              <a:gd name="connsiteX17" fmla="*/ 820461 w 2602819"/>
              <a:gd name="connsiteY17" fmla="*/ 1705513 h 2021330"/>
              <a:gd name="connsiteX18" fmla="*/ 820076 w 2602819"/>
              <a:gd name="connsiteY18" fmla="*/ 1705379 h 2021330"/>
              <a:gd name="connsiteX19" fmla="*/ 842190 w 2602819"/>
              <a:gd name="connsiteY19" fmla="*/ 1670769 h 2021330"/>
              <a:gd name="connsiteX20" fmla="*/ 708812 w 2602819"/>
              <a:gd name="connsiteY20" fmla="*/ 1486205 h 2021330"/>
              <a:gd name="connsiteX21" fmla="*/ 490241 w 2602819"/>
              <a:gd name="connsiteY21" fmla="*/ 1550086 h 2021330"/>
              <a:gd name="connsiteX22" fmla="*/ 486276 w 2602819"/>
              <a:gd name="connsiteY22" fmla="*/ 1588754 h 2021330"/>
              <a:gd name="connsiteX23" fmla="*/ 485830 w 2602819"/>
              <a:gd name="connsiteY23" fmla="*/ 1588599 h 2021330"/>
              <a:gd name="connsiteX24" fmla="*/ 438679 w 2602819"/>
              <a:gd name="connsiteY24" fmla="*/ 1765705 h 2021330"/>
              <a:gd name="connsiteX25" fmla="*/ 0 w 2602819"/>
              <a:gd name="connsiteY25" fmla="*/ 1624130 h 2021330"/>
              <a:gd name="connsiteX26" fmla="*/ 2233573 w 2602819"/>
              <a:gd name="connsiteY26" fmla="*/ 0 h 2021330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38679 w 2602819"/>
              <a:gd name="connsiteY24" fmla="*/ 1765705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43931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43295 w 2602819"/>
              <a:gd name="connsiteY24" fmla="*/ 1774937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22574"/>
              <a:gd name="connsiteX1" fmla="*/ 2237414 w 2602819"/>
              <a:gd name="connsiteY1" fmla="*/ 502925 h 2022574"/>
              <a:gd name="connsiteX2" fmla="*/ 2433635 w 2602819"/>
              <a:gd name="connsiteY2" fmla="*/ 510187 h 2022574"/>
              <a:gd name="connsiteX3" fmla="*/ 2433632 w 2602819"/>
              <a:gd name="connsiteY3" fmla="*/ 510659 h 2022574"/>
              <a:gd name="connsiteX4" fmla="*/ 2471496 w 2602819"/>
              <a:gd name="connsiteY4" fmla="*/ 501867 h 2022574"/>
              <a:gd name="connsiteX5" fmla="*/ 2602819 w 2602819"/>
              <a:gd name="connsiteY5" fmla="*/ 687900 h 2022574"/>
              <a:gd name="connsiteX6" fmla="*/ 2471496 w 2602819"/>
              <a:gd name="connsiteY6" fmla="*/ 873932 h 2022574"/>
              <a:gd name="connsiteX7" fmla="*/ 2431585 w 2602819"/>
              <a:gd name="connsiteY7" fmla="*/ 864240 h 2022574"/>
              <a:gd name="connsiteX8" fmla="*/ 2431583 w 2602819"/>
              <a:gd name="connsiteY8" fmla="*/ 864648 h 2022574"/>
              <a:gd name="connsiteX9" fmla="*/ 2428943 w 2602819"/>
              <a:gd name="connsiteY9" fmla="*/ 863079 h 2022574"/>
              <a:gd name="connsiteX10" fmla="*/ 2412787 w 2602819"/>
              <a:gd name="connsiteY10" fmla="*/ 853475 h 2022574"/>
              <a:gd name="connsiteX11" fmla="*/ 2236999 w 2602819"/>
              <a:gd name="connsiteY11" fmla="*/ 875150 h 2022574"/>
              <a:gd name="connsiteX12" fmla="*/ 2239324 w 2602819"/>
              <a:gd name="connsiteY12" fmla="*/ 1307254 h 2022574"/>
              <a:gd name="connsiteX13" fmla="*/ 1246138 w 2602819"/>
              <a:gd name="connsiteY13" fmla="*/ 2020256 h 2022574"/>
              <a:gd name="connsiteX14" fmla="*/ 730083 w 2602819"/>
              <a:gd name="connsiteY14" fmla="*/ 1862653 h 2022574"/>
              <a:gd name="connsiteX15" fmla="*/ 803796 w 2602819"/>
              <a:gd name="connsiteY15" fmla="*/ 1719668 h 2022574"/>
              <a:gd name="connsiteX16" fmla="*/ 818121 w 2602819"/>
              <a:gd name="connsiteY16" fmla="*/ 1707501 h 2022574"/>
              <a:gd name="connsiteX17" fmla="*/ 820461 w 2602819"/>
              <a:gd name="connsiteY17" fmla="*/ 1705513 h 2022574"/>
              <a:gd name="connsiteX18" fmla="*/ 820076 w 2602819"/>
              <a:gd name="connsiteY18" fmla="*/ 1705379 h 2022574"/>
              <a:gd name="connsiteX19" fmla="*/ 842190 w 2602819"/>
              <a:gd name="connsiteY19" fmla="*/ 1670769 h 2022574"/>
              <a:gd name="connsiteX20" fmla="*/ 708812 w 2602819"/>
              <a:gd name="connsiteY20" fmla="*/ 1486205 h 2022574"/>
              <a:gd name="connsiteX21" fmla="*/ 490241 w 2602819"/>
              <a:gd name="connsiteY21" fmla="*/ 1550086 h 2022574"/>
              <a:gd name="connsiteX22" fmla="*/ 486276 w 2602819"/>
              <a:gd name="connsiteY22" fmla="*/ 1588754 h 2022574"/>
              <a:gd name="connsiteX23" fmla="*/ 485830 w 2602819"/>
              <a:gd name="connsiteY23" fmla="*/ 1588599 h 2022574"/>
              <a:gd name="connsiteX24" fmla="*/ 443295 w 2602819"/>
              <a:gd name="connsiteY24" fmla="*/ 1774937 h 2022574"/>
              <a:gd name="connsiteX25" fmla="*/ 0 w 2602819"/>
              <a:gd name="connsiteY25" fmla="*/ 1624130 h 2022574"/>
              <a:gd name="connsiteX26" fmla="*/ 2233573 w 2602819"/>
              <a:gd name="connsiteY26" fmla="*/ 0 h 2022574"/>
              <a:gd name="connsiteX0" fmla="*/ 2233573 w 2602819"/>
              <a:gd name="connsiteY0" fmla="*/ 0 h 2033693"/>
              <a:gd name="connsiteX1" fmla="*/ 2237414 w 2602819"/>
              <a:gd name="connsiteY1" fmla="*/ 502925 h 2033693"/>
              <a:gd name="connsiteX2" fmla="*/ 2433635 w 2602819"/>
              <a:gd name="connsiteY2" fmla="*/ 510187 h 2033693"/>
              <a:gd name="connsiteX3" fmla="*/ 2433632 w 2602819"/>
              <a:gd name="connsiteY3" fmla="*/ 510659 h 2033693"/>
              <a:gd name="connsiteX4" fmla="*/ 2471496 w 2602819"/>
              <a:gd name="connsiteY4" fmla="*/ 501867 h 2033693"/>
              <a:gd name="connsiteX5" fmla="*/ 2602819 w 2602819"/>
              <a:gd name="connsiteY5" fmla="*/ 687900 h 2033693"/>
              <a:gd name="connsiteX6" fmla="*/ 2471496 w 2602819"/>
              <a:gd name="connsiteY6" fmla="*/ 873932 h 2033693"/>
              <a:gd name="connsiteX7" fmla="*/ 2431585 w 2602819"/>
              <a:gd name="connsiteY7" fmla="*/ 864240 h 2033693"/>
              <a:gd name="connsiteX8" fmla="*/ 2431583 w 2602819"/>
              <a:gd name="connsiteY8" fmla="*/ 864648 h 2033693"/>
              <a:gd name="connsiteX9" fmla="*/ 2428943 w 2602819"/>
              <a:gd name="connsiteY9" fmla="*/ 863079 h 2033693"/>
              <a:gd name="connsiteX10" fmla="*/ 2412787 w 2602819"/>
              <a:gd name="connsiteY10" fmla="*/ 853475 h 2033693"/>
              <a:gd name="connsiteX11" fmla="*/ 2236999 w 2602819"/>
              <a:gd name="connsiteY11" fmla="*/ 875150 h 2033693"/>
              <a:gd name="connsiteX12" fmla="*/ 2239324 w 2602819"/>
              <a:gd name="connsiteY12" fmla="*/ 1307254 h 2033693"/>
              <a:gd name="connsiteX13" fmla="*/ 1246138 w 2602819"/>
              <a:gd name="connsiteY13" fmla="*/ 2020256 h 2033693"/>
              <a:gd name="connsiteX14" fmla="*/ 730083 w 2602819"/>
              <a:gd name="connsiteY14" fmla="*/ 1862653 h 2033693"/>
              <a:gd name="connsiteX15" fmla="*/ 803796 w 2602819"/>
              <a:gd name="connsiteY15" fmla="*/ 1719668 h 2033693"/>
              <a:gd name="connsiteX16" fmla="*/ 818121 w 2602819"/>
              <a:gd name="connsiteY16" fmla="*/ 1707501 h 2033693"/>
              <a:gd name="connsiteX17" fmla="*/ 820461 w 2602819"/>
              <a:gd name="connsiteY17" fmla="*/ 1705513 h 2033693"/>
              <a:gd name="connsiteX18" fmla="*/ 820076 w 2602819"/>
              <a:gd name="connsiteY18" fmla="*/ 1705379 h 2033693"/>
              <a:gd name="connsiteX19" fmla="*/ 842190 w 2602819"/>
              <a:gd name="connsiteY19" fmla="*/ 1670769 h 2033693"/>
              <a:gd name="connsiteX20" fmla="*/ 708812 w 2602819"/>
              <a:gd name="connsiteY20" fmla="*/ 1486205 h 2033693"/>
              <a:gd name="connsiteX21" fmla="*/ 490241 w 2602819"/>
              <a:gd name="connsiteY21" fmla="*/ 1550086 h 2033693"/>
              <a:gd name="connsiteX22" fmla="*/ 486276 w 2602819"/>
              <a:gd name="connsiteY22" fmla="*/ 1588754 h 2033693"/>
              <a:gd name="connsiteX23" fmla="*/ 485830 w 2602819"/>
              <a:gd name="connsiteY23" fmla="*/ 1588599 h 2033693"/>
              <a:gd name="connsiteX24" fmla="*/ 443295 w 2602819"/>
              <a:gd name="connsiteY24" fmla="*/ 1774937 h 2033693"/>
              <a:gd name="connsiteX25" fmla="*/ 0 w 2602819"/>
              <a:gd name="connsiteY25" fmla="*/ 1624130 h 2033693"/>
              <a:gd name="connsiteX26" fmla="*/ 2233573 w 2602819"/>
              <a:gd name="connsiteY26" fmla="*/ 0 h 2033693"/>
              <a:gd name="connsiteX0" fmla="*/ 2233573 w 2602819"/>
              <a:gd name="connsiteY0" fmla="*/ 0 h 2026826"/>
              <a:gd name="connsiteX1" fmla="*/ 2237414 w 2602819"/>
              <a:gd name="connsiteY1" fmla="*/ 496058 h 2026826"/>
              <a:gd name="connsiteX2" fmla="*/ 2433635 w 2602819"/>
              <a:gd name="connsiteY2" fmla="*/ 503320 h 2026826"/>
              <a:gd name="connsiteX3" fmla="*/ 2433632 w 2602819"/>
              <a:gd name="connsiteY3" fmla="*/ 503792 h 2026826"/>
              <a:gd name="connsiteX4" fmla="*/ 2471496 w 2602819"/>
              <a:gd name="connsiteY4" fmla="*/ 495000 h 2026826"/>
              <a:gd name="connsiteX5" fmla="*/ 2602819 w 2602819"/>
              <a:gd name="connsiteY5" fmla="*/ 681033 h 2026826"/>
              <a:gd name="connsiteX6" fmla="*/ 2471496 w 2602819"/>
              <a:gd name="connsiteY6" fmla="*/ 867065 h 2026826"/>
              <a:gd name="connsiteX7" fmla="*/ 2431585 w 2602819"/>
              <a:gd name="connsiteY7" fmla="*/ 857373 h 2026826"/>
              <a:gd name="connsiteX8" fmla="*/ 2431583 w 2602819"/>
              <a:gd name="connsiteY8" fmla="*/ 857781 h 2026826"/>
              <a:gd name="connsiteX9" fmla="*/ 2428943 w 2602819"/>
              <a:gd name="connsiteY9" fmla="*/ 856212 h 2026826"/>
              <a:gd name="connsiteX10" fmla="*/ 2412787 w 2602819"/>
              <a:gd name="connsiteY10" fmla="*/ 846608 h 2026826"/>
              <a:gd name="connsiteX11" fmla="*/ 2236999 w 2602819"/>
              <a:gd name="connsiteY11" fmla="*/ 868283 h 2026826"/>
              <a:gd name="connsiteX12" fmla="*/ 2239324 w 2602819"/>
              <a:gd name="connsiteY12" fmla="*/ 1300387 h 2026826"/>
              <a:gd name="connsiteX13" fmla="*/ 1246138 w 2602819"/>
              <a:gd name="connsiteY13" fmla="*/ 2013389 h 2026826"/>
              <a:gd name="connsiteX14" fmla="*/ 730083 w 2602819"/>
              <a:gd name="connsiteY14" fmla="*/ 1855786 h 2026826"/>
              <a:gd name="connsiteX15" fmla="*/ 803796 w 2602819"/>
              <a:gd name="connsiteY15" fmla="*/ 1712801 h 2026826"/>
              <a:gd name="connsiteX16" fmla="*/ 818121 w 2602819"/>
              <a:gd name="connsiteY16" fmla="*/ 1700634 h 2026826"/>
              <a:gd name="connsiteX17" fmla="*/ 820461 w 2602819"/>
              <a:gd name="connsiteY17" fmla="*/ 1698646 h 2026826"/>
              <a:gd name="connsiteX18" fmla="*/ 820076 w 2602819"/>
              <a:gd name="connsiteY18" fmla="*/ 1698512 h 2026826"/>
              <a:gd name="connsiteX19" fmla="*/ 842190 w 2602819"/>
              <a:gd name="connsiteY19" fmla="*/ 1663902 h 2026826"/>
              <a:gd name="connsiteX20" fmla="*/ 708812 w 2602819"/>
              <a:gd name="connsiteY20" fmla="*/ 1479338 h 2026826"/>
              <a:gd name="connsiteX21" fmla="*/ 490241 w 2602819"/>
              <a:gd name="connsiteY21" fmla="*/ 1543219 h 2026826"/>
              <a:gd name="connsiteX22" fmla="*/ 486276 w 2602819"/>
              <a:gd name="connsiteY22" fmla="*/ 1581887 h 2026826"/>
              <a:gd name="connsiteX23" fmla="*/ 485830 w 2602819"/>
              <a:gd name="connsiteY23" fmla="*/ 1581732 h 2026826"/>
              <a:gd name="connsiteX24" fmla="*/ 443295 w 2602819"/>
              <a:gd name="connsiteY24" fmla="*/ 1768070 h 2026826"/>
              <a:gd name="connsiteX25" fmla="*/ 0 w 2602819"/>
              <a:gd name="connsiteY25" fmla="*/ 1617263 h 2026826"/>
              <a:gd name="connsiteX26" fmla="*/ 2233573 w 2602819"/>
              <a:gd name="connsiteY26" fmla="*/ 0 h 2026826"/>
              <a:gd name="connsiteX0" fmla="*/ 2233573 w 2602819"/>
              <a:gd name="connsiteY0" fmla="*/ 0 h 2029115"/>
              <a:gd name="connsiteX1" fmla="*/ 2237414 w 2602819"/>
              <a:gd name="connsiteY1" fmla="*/ 498347 h 2029115"/>
              <a:gd name="connsiteX2" fmla="*/ 2433635 w 2602819"/>
              <a:gd name="connsiteY2" fmla="*/ 505609 h 2029115"/>
              <a:gd name="connsiteX3" fmla="*/ 2433632 w 2602819"/>
              <a:gd name="connsiteY3" fmla="*/ 506081 h 2029115"/>
              <a:gd name="connsiteX4" fmla="*/ 2471496 w 2602819"/>
              <a:gd name="connsiteY4" fmla="*/ 497289 h 2029115"/>
              <a:gd name="connsiteX5" fmla="*/ 2602819 w 2602819"/>
              <a:gd name="connsiteY5" fmla="*/ 683322 h 2029115"/>
              <a:gd name="connsiteX6" fmla="*/ 2471496 w 2602819"/>
              <a:gd name="connsiteY6" fmla="*/ 869354 h 2029115"/>
              <a:gd name="connsiteX7" fmla="*/ 2431585 w 2602819"/>
              <a:gd name="connsiteY7" fmla="*/ 859662 h 2029115"/>
              <a:gd name="connsiteX8" fmla="*/ 2431583 w 2602819"/>
              <a:gd name="connsiteY8" fmla="*/ 860070 h 2029115"/>
              <a:gd name="connsiteX9" fmla="*/ 2428943 w 2602819"/>
              <a:gd name="connsiteY9" fmla="*/ 858501 h 2029115"/>
              <a:gd name="connsiteX10" fmla="*/ 2412787 w 2602819"/>
              <a:gd name="connsiteY10" fmla="*/ 848897 h 2029115"/>
              <a:gd name="connsiteX11" fmla="*/ 2236999 w 2602819"/>
              <a:gd name="connsiteY11" fmla="*/ 870572 h 2029115"/>
              <a:gd name="connsiteX12" fmla="*/ 2239324 w 2602819"/>
              <a:gd name="connsiteY12" fmla="*/ 1302676 h 2029115"/>
              <a:gd name="connsiteX13" fmla="*/ 1246138 w 2602819"/>
              <a:gd name="connsiteY13" fmla="*/ 2015678 h 2029115"/>
              <a:gd name="connsiteX14" fmla="*/ 730083 w 2602819"/>
              <a:gd name="connsiteY14" fmla="*/ 1858075 h 2029115"/>
              <a:gd name="connsiteX15" fmla="*/ 803796 w 2602819"/>
              <a:gd name="connsiteY15" fmla="*/ 1715090 h 2029115"/>
              <a:gd name="connsiteX16" fmla="*/ 818121 w 2602819"/>
              <a:gd name="connsiteY16" fmla="*/ 1702923 h 2029115"/>
              <a:gd name="connsiteX17" fmla="*/ 820461 w 2602819"/>
              <a:gd name="connsiteY17" fmla="*/ 1700935 h 2029115"/>
              <a:gd name="connsiteX18" fmla="*/ 820076 w 2602819"/>
              <a:gd name="connsiteY18" fmla="*/ 1700801 h 2029115"/>
              <a:gd name="connsiteX19" fmla="*/ 842190 w 2602819"/>
              <a:gd name="connsiteY19" fmla="*/ 1666191 h 2029115"/>
              <a:gd name="connsiteX20" fmla="*/ 708812 w 2602819"/>
              <a:gd name="connsiteY20" fmla="*/ 1481627 h 2029115"/>
              <a:gd name="connsiteX21" fmla="*/ 490241 w 2602819"/>
              <a:gd name="connsiteY21" fmla="*/ 1545508 h 2029115"/>
              <a:gd name="connsiteX22" fmla="*/ 486276 w 2602819"/>
              <a:gd name="connsiteY22" fmla="*/ 1584176 h 2029115"/>
              <a:gd name="connsiteX23" fmla="*/ 485830 w 2602819"/>
              <a:gd name="connsiteY23" fmla="*/ 1584021 h 2029115"/>
              <a:gd name="connsiteX24" fmla="*/ 443295 w 2602819"/>
              <a:gd name="connsiteY24" fmla="*/ 1770359 h 2029115"/>
              <a:gd name="connsiteX25" fmla="*/ 0 w 2602819"/>
              <a:gd name="connsiteY25" fmla="*/ 1619552 h 2029115"/>
              <a:gd name="connsiteX26" fmla="*/ 2233573 w 2602819"/>
              <a:gd name="connsiteY26" fmla="*/ 0 h 2029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02819" h="2029115">
                <a:moveTo>
                  <a:pt x="2233573" y="0"/>
                </a:moveTo>
                <a:cubicBezTo>
                  <a:pt x="2155806" y="105091"/>
                  <a:pt x="2177326" y="435499"/>
                  <a:pt x="2237414" y="498347"/>
                </a:cubicBezTo>
                <a:cubicBezTo>
                  <a:pt x="2291339" y="584285"/>
                  <a:pt x="2300178" y="578732"/>
                  <a:pt x="2433635" y="505609"/>
                </a:cubicBezTo>
                <a:cubicBezTo>
                  <a:pt x="2433634" y="505766"/>
                  <a:pt x="2433633" y="505924"/>
                  <a:pt x="2433632" y="506081"/>
                </a:cubicBezTo>
                <a:cubicBezTo>
                  <a:pt x="2445491" y="500061"/>
                  <a:pt x="2458265" y="497289"/>
                  <a:pt x="2471496" y="497289"/>
                </a:cubicBezTo>
                <a:cubicBezTo>
                  <a:pt x="2544024" y="497289"/>
                  <a:pt x="2602819" y="580579"/>
                  <a:pt x="2602819" y="683322"/>
                </a:cubicBezTo>
                <a:cubicBezTo>
                  <a:pt x="2602819" y="786064"/>
                  <a:pt x="2544024" y="869354"/>
                  <a:pt x="2471496" y="869354"/>
                </a:cubicBezTo>
                <a:cubicBezTo>
                  <a:pt x="2457509" y="869354"/>
                  <a:pt x="2444033" y="866257"/>
                  <a:pt x="2431585" y="859662"/>
                </a:cubicBezTo>
                <a:cubicBezTo>
                  <a:pt x="2431584" y="859798"/>
                  <a:pt x="2431584" y="859934"/>
                  <a:pt x="2431583" y="860070"/>
                </a:cubicBezTo>
                <a:cubicBezTo>
                  <a:pt x="2430716" y="859486"/>
                  <a:pt x="2429853" y="858913"/>
                  <a:pt x="2428943" y="858501"/>
                </a:cubicBezTo>
                <a:cubicBezTo>
                  <a:pt x="2423169" y="856557"/>
                  <a:pt x="2417754" y="853316"/>
                  <a:pt x="2412787" y="848897"/>
                </a:cubicBezTo>
                <a:cubicBezTo>
                  <a:pt x="2317966" y="797004"/>
                  <a:pt x="2275588" y="795451"/>
                  <a:pt x="2236999" y="870572"/>
                </a:cubicBezTo>
                <a:cubicBezTo>
                  <a:pt x="2196223" y="945411"/>
                  <a:pt x="2143425" y="1111825"/>
                  <a:pt x="2239324" y="1302676"/>
                </a:cubicBezTo>
                <a:cubicBezTo>
                  <a:pt x="1778825" y="1302676"/>
                  <a:pt x="1383321" y="1601277"/>
                  <a:pt x="1246138" y="2015678"/>
                </a:cubicBezTo>
                <a:cubicBezTo>
                  <a:pt x="1221047" y="2061245"/>
                  <a:pt x="864590" y="1986519"/>
                  <a:pt x="730083" y="1858075"/>
                </a:cubicBezTo>
                <a:cubicBezTo>
                  <a:pt x="702133" y="1812768"/>
                  <a:pt x="737833" y="1775286"/>
                  <a:pt x="803796" y="1715090"/>
                </a:cubicBezTo>
                <a:cubicBezTo>
                  <a:pt x="809587" y="1711825"/>
                  <a:pt x="814409" y="1707754"/>
                  <a:pt x="818121" y="1702923"/>
                </a:cubicBezTo>
                <a:cubicBezTo>
                  <a:pt x="818805" y="1702196"/>
                  <a:pt x="819628" y="1701565"/>
                  <a:pt x="820461" y="1700935"/>
                </a:cubicBezTo>
                <a:lnTo>
                  <a:pt x="820076" y="1700801"/>
                </a:lnTo>
                <a:cubicBezTo>
                  <a:pt x="830352" y="1691164"/>
                  <a:pt x="837653" y="1679421"/>
                  <a:pt x="842190" y="1666191"/>
                </a:cubicBezTo>
                <a:cubicBezTo>
                  <a:pt x="865715" y="1597585"/>
                  <a:pt x="805999" y="1514952"/>
                  <a:pt x="708812" y="1481627"/>
                </a:cubicBezTo>
                <a:cubicBezTo>
                  <a:pt x="611624" y="1448301"/>
                  <a:pt x="513766" y="1476902"/>
                  <a:pt x="490241" y="1545508"/>
                </a:cubicBezTo>
                <a:cubicBezTo>
                  <a:pt x="485950" y="1558024"/>
                  <a:pt x="484428" y="1571006"/>
                  <a:pt x="486276" y="1584176"/>
                </a:cubicBezTo>
                <a:lnTo>
                  <a:pt x="485830" y="1584021"/>
                </a:lnTo>
                <a:cubicBezTo>
                  <a:pt x="509469" y="1720986"/>
                  <a:pt x="518124" y="1750563"/>
                  <a:pt x="443295" y="1770359"/>
                </a:cubicBezTo>
                <a:cubicBezTo>
                  <a:pt x="367919" y="1786427"/>
                  <a:pt x="80436" y="1714821"/>
                  <a:pt x="0" y="1619552"/>
                </a:cubicBezTo>
                <a:cubicBezTo>
                  <a:pt x="304668" y="676568"/>
                  <a:pt x="1189034" y="0"/>
                  <a:pt x="2233573" y="0"/>
                </a:cubicBezTo>
                <a:close/>
              </a:path>
            </a:pathLst>
          </a:custGeom>
          <a:solidFill>
            <a:srgbClr val="B55A1C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  <a:scene3d>
            <a:camera prst="orthographicFront"/>
            <a:lightRig rig="threePt" dir="t"/>
          </a:scene3d>
          <a:sp3d z="3810000"/>
        </p:spPr>
        <p:txBody>
          <a:bodyPr rtlCol="0" anchor="ctr"/>
          <a:lstStyle/>
          <a:p>
            <a:pPr algn="ctr" defTabSz="121917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5062435" y="2869193"/>
            <a:ext cx="2072668" cy="14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IN" sz="2933" kern="0" dirty="0">
                <a:ln w="0"/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</a:t>
            </a:r>
          </a:p>
          <a:p>
            <a:pPr algn="ctr" defTabSz="1219170">
              <a:defRPr/>
            </a:pPr>
            <a:r>
              <a:rPr lang="en-IN" sz="2933" kern="0" dirty="0">
                <a:ln w="0"/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Resources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8994808" y="1775335"/>
            <a:ext cx="2798891" cy="584775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jaloop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velopment Community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9393109" y="3473794"/>
            <a:ext cx="2798891" cy="338554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LevelOneProject.org 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8195043" y="5522677"/>
            <a:ext cx="2798891" cy="584775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MA Mobile Money Innovation Lab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214321" y="4050947"/>
            <a:ext cx="2798891" cy="1077218"/>
          </a:xfrm>
          <a:prstGeom prst="rect">
            <a:avLst/>
          </a:prstGeom>
          <a:ln>
            <a:noFill/>
          </a:ln>
          <a:effectLst/>
        </p:spPr>
        <p:txBody>
          <a:bodyPr wrap="square">
            <a:spAutoFit/>
          </a:bodyPr>
          <a:lstStyle/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Payments Aspects of Financial Inclusion (PAFI)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8594" indent="-228594" defTabSz="685783">
              <a:buFont typeface="Arial"/>
              <a:buChar char="•"/>
              <a:defRPr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Bank of International Settlement</a:t>
            </a: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4BE346F1-4EA6-404F-BAF7-071FA06FCC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359651" y="6527357"/>
            <a:ext cx="253444" cy="207464"/>
          </a:xfrm>
        </p:spPr>
        <p:txBody>
          <a:bodyPr/>
          <a:lstStyle/>
          <a:p>
            <a:pPr defTabSz="1219170">
              <a:defRPr/>
            </a:pPr>
            <a:fld id="{445F6309-42ED-4BA7-96F6-9AF03B5C5226}" type="slidenum">
              <a:rPr lang="en-US" altLang="en-US">
                <a:solidFill>
                  <a:srgbClr val="000000"/>
                </a:solidFill>
              </a:rPr>
              <a:pPr defTabSz="1219170">
                <a:defRPr/>
              </a:pPr>
              <a:t>12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34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689997-CAF4-475D-88DC-1BE2EF144B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6A551F-FD43-4719-8FF2-F5CD0014E39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D5F6A1-B8B5-4D78-BDC7-C22411C42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C78D86-7916-48BE-A222-8726B029A1EE}"/>
              </a:ext>
            </a:extLst>
          </p:cNvPr>
          <p:cNvSpPr/>
          <p:nvPr/>
        </p:nvSpPr>
        <p:spPr>
          <a:xfrm>
            <a:off x="0" y="0"/>
            <a:ext cx="12150022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ank You</a:t>
            </a:r>
          </a:p>
          <a:p>
            <a:pPr algn="ctr"/>
            <a:r>
              <a:rPr lang="en-US" dirty="0"/>
              <a:t>Questions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75095A-2F91-4907-BEC0-58AA34F81B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59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81DFC8-91F7-47D6-A4AC-C9D992F351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03340A-D7FB-45D9-AB71-C3451796F9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F9EBE-7C6C-45BC-8BB5-3B0B9DF4FE7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00A3610-2BB4-46FE-9CC8-0A77611E3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659CAE-1B42-4753-850D-AB1572F410D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6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C60AA1-45ED-42DE-A00B-BCD241E492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We want payments to reach everyon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e believe that RTRPS are the lowest cost way to make that happe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e believe that our L1P principles help drive the lowest cost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dvance the industry</a:t>
            </a:r>
          </a:p>
          <a:p>
            <a:pPr marL="685794" lvl="1" indent="-457200"/>
            <a:r>
              <a:rPr lang="en-US" dirty="0"/>
              <a:t>Similar features, capabilities and rules</a:t>
            </a:r>
          </a:p>
          <a:p>
            <a:pPr marL="685794" lvl="1" indent="-457200"/>
            <a:r>
              <a:rPr lang="en-US" dirty="0"/>
              <a:t>Connections between implementations</a:t>
            </a:r>
          </a:p>
          <a:p>
            <a:pPr marL="685794" lvl="1" indent="-457200"/>
            <a:r>
              <a:rPr lang="en-US" dirty="0"/>
              <a:t>Serve the needs of the people, and of business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Experience from the markets and your broad base of implementations and prospect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haring information</a:t>
            </a:r>
          </a:p>
          <a:p>
            <a:pPr marL="685794" lvl="1" indent="-457200"/>
            <a:r>
              <a:rPr lang="en-US" dirty="0"/>
              <a:t>Security and fraud management</a:t>
            </a:r>
          </a:p>
          <a:p>
            <a:pPr marL="685794" lvl="1" indent="-457200"/>
            <a:r>
              <a:rPr lang="en-US" dirty="0"/>
              <a:t>Gender research</a:t>
            </a:r>
          </a:p>
          <a:p>
            <a:pPr marL="685794" lvl="1" indent="-457200"/>
            <a:r>
              <a:rPr lang="en-US" dirty="0"/>
              <a:t>Ecosystem develop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CEDDB9-D09D-4F65-9B55-1164B3A9E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jaloop goal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BD862A-9229-49C4-B34D-BB7E026E473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5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94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4" t="13798" b="14375"/>
          <a:stretch/>
        </p:blipFill>
        <p:spPr>
          <a:xfrm>
            <a:off x="0" y="0"/>
            <a:ext cx="12192000" cy="6858000"/>
          </a:xfrm>
        </p:spPr>
      </p:pic>
      <p:grpSp>
        <p:nvGrpSpPr>
          <p:cNvPr id="14" name="Group 13"/>
          <p:cNvGrpSpPr/>
          <p:nvPr/>
        </p:nvGrpSpPr>
        <p:grpSpPr>
          <a:xfrm>
            <a:off x="7805657" y="0"/>
            <a:ext cx="4386344" cy="6858000"/>
            <a:chOff x="342866" y="1656727"/>
            <a:chExt cx="3292475" cy="2608333"/>
          </a:xfrm>
        </p:grpSpPr>
        <p:sp>
          <p:nvSpPr>
            <p:cNvPr id="15" name="Rectangle 14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294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294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8281861" y="590641"/>
            <a:ext cx="3657600" cy="1568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219170">
              <a:spcAft>
                <a:spcPts val="800"/>
              </a:spcAft>
            </a:pP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Our Goals:</a:t>
            </a:r>
          </a:p>
          <a:p>
            <a:pPr defTabSz="1219170">
              <a:spcAft>
                <a:spcPts val="800"/>
              </a:spcAft>
            </a:pP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By 2030, ensure that 80% of adults worldwide and 60% of sub-$2.5/day adults use a digital account for a service beyond P2P transfers, up from 50% and 22%, respectively as of 2014.  We also aim to eliminate the gender </a:t>
            </a:r>
            <a:r>
              <a:rPr lang="en-US" sz="2667" b="1">
                <a:solidFill>
                  <a:srgbClr val="FFFFFF"/>
                </a:solidFill>
                <a:latin typeface="Arial" charset="0"/>
                <a:cs typeface="Arial" charset="0"/>
              </a:rPr>
              <a:t>gap by </a:t>
            </a:r>
            <a:r>
              <a:rPr lang="en-US" sz="2667" b="1" dirty="0">
                <a:solidFill>
                  <a:srgbClr val="FFFFFF"/>
                </a:solidFill>
                <a:latin typeface="Arial" charset="0"/>
                <a:cs typeface="Arial" charset="0"/>
              </a:rPr>
              <a:t>2030. </a:t>
            </a:r>
          </a:p>
        </p:txBody>
      </p:sp>
      <p:sp>
        <p:nvSpPr>
          <p:cNvPr id="8" name="Rectangle 7"/>
          <p:cNvSpPr/>
          <p:nvPr/>
        </p:nvSpPr>
        <p:spPr>
          <a:xfrm>
            <a:off x="7805412" y="671576"/>
            <a:ext cx="268224" cy="2682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239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A69D3-8218-42E6-90B7-D6BB1E5A22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/>
            <a:fld id="{D3F7C509-FEEF-45D3-B896-7C07814C0C13}" type="slidenum">
              <a:rPr lang="en-US">
                <a:solidFill>
                  <a:srgbClr val="000000"/>
                </a:solidFill>
              </a:rPr>
              <a:pPr defTabSz="1219170"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33384A-B565-4336-96EA-15598E6F4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255" y="443144"/>
            <a:ext cx="11106151" cy="697577"/>
          </a:xfrm>
        </p:spPr>
        <p:txBody>
          <a:bodyPr/>
          <a:lstStyle/>
          <a:p>
            <a:r>
              <a:rPr lang="en-US" dirty="0"/>
              <a:t>THE GATES FOUNDATION AND FINANCIAL SERVICES FOR THE POOR (</a:t>
            </a:r>
            <a:r>
              <a:rPr lang="en-US" dirty="0" err="1"/>
              <a:t>fsp</a:t>
            </a:r>
            <a:r>
              <a:rPr lang="en-US" dirty="0"/>
              <a:t>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25A7A3-BFCD-4738-AF73-80E0518EDE61}"/>
              </a:ext>
            </a:extLst>
          </p:cNvPr>
          <p:cNvGrpSpPr/>
          <p:nvPr/>
        </p:nvGrpSpPr>
        <p:grpSpPr>
          <a:xfrm>
            <a:off x="464255" y="1219201"/>
            <a:ext cx="11313676" cy="5151197"/>
            <a:chOff x="348191" y="914400"/>
            <a:chExt cx="8485257" cy="386339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45C146-D163-4753-A906-8C2219120967}"/>
                </a:ext>
              </a:extLst>
            </p:cNvPr>
            <p:cNvSpPr/>
            <p:nvPr/>
          </p:nvSpPr>
          <p:spPr>
            <a:xfrm>
              <a:off x="348191" y="914400"/>
              <a:ext cx="8485257" cy="3863398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1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BEC7243-B95C-4E08-BD02-D81077F925C9}"/>
                </a:ext>
              </a:extLst>
            </p:cNvPr>
            <p:cNvSpPr txBox="1"/>
            <p:nvPr/>
          </p:nvSpPr>
          <p:spPr>
            <a:xfrm>
              <a:off x="469370" y="1045606"/>
              <a:ext cx="8242899" cy="33701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The guiding principle of the Bill &amp; Melinda Gates Foundation is that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“all lives have equal value”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We believe a significant driver of inequality and poverty is financial exclusion: ~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1.7 billion people worldwide lack access to basic financial services, such as savings, payments, insurance, and credit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It is expensive to be poor.  While most poor people live very active financial lives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hey face constant risks, limitations, and hidden costs.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The Financial Services for the Poor (FSP) program supports private-sector and government partners in a shared effort to give the world’s poorest people access to financial tools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hat they can use to build better, more prosperous, and more secure lives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We are focused on digital technology to deliver at scale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According to the McKinsey Global Institute, digital financial services could allow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1.6 billion people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to enter the formal economy adding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$3.7 trillion to the annual GDP of emerging markets by 2025. </a:t>
              </a:r>
            </a:p>
            <a:p>
              <a:pPr marL="380990" indent="-380990" defTabSz="1219170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  <a:latin typeface="Arial"/>
                </a:rPr>
                <a:t>The DFS model is simultaneously a powerful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anti-poverty strategy 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and an extraordinary 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catalyst of sustainable economic development</a:t>
              </a:r>
              <a:r>
                <a:rPr lang="en-US" dirty="0">
                  <a:solidFill>
                    <a:srgbClr val="000000"/>
                  </a:solidFill>
                  <a:latin typeface="Arial"/>
                </a:rPr>
                <a:t> for entire national and regional economi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8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BEE28E9-1B58-4E0A-8444-421A66B1D77C}"/>
              </a:ext>
            </a:extLst>
          </p:cNvPr>
          <p:cNvSpPr/>
          <p:nvPr/>
        </p:nvSpPr>
        <p:spPr bwMode="auto">
          <a:xfrm>
            <a:off x="2946505" y="4659419"/>
            <a:ext cx="7006543" cy="914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Regulatory and Governance Framework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Legal and Regulatory Framework to initiate and sustain digital financial services scheme and platform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Create and guide mechanisms for rule setting, stakeholder collaboration, governing and operating the DFS scheme, participants and perform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ED5E07-8184-4491-9F84-0BC47D49EF20}"/>
              </a:ext>
            </a:extLst>
          </p:cNvPr>
          <p:cNvSpPr/>
          <p:nvPr/>
        </p:nvSpPr>
        <p:spPr bwMode="auto">
          <a:xfrm>
            <a:off x="3385998" y="3576499"/>
            <a:ext cx="6567053" cy="914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Infrastructure for Connectivity &amp; Interoperability 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requirements, buy/build IST and Fraud Risk solution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Requirements and build/buy IST, Requirements build/buy fraud system, API library, vendor, provider, operator SLA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9D5C4A-DAFB-485F-B351-E01036901172}"/>
              </a:ext>
            </a:extLst>
          </p:cNvPr>
          <p:cNvSpPr/>
          <p:nvPr/>
        </p:nvSpPr>
        <p:spPr bwMode="auto">
          <a:xfrm>
            <a:off x="3825481" y="2492577"/>
            <a:ext cx="6127567" cy="9084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Digital Accounts &amp; Transaction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account opening and manage accounts for consumers, agents , merchants  and payee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APIs and software library for IST integration,  vendor certification, selection, SLAs 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45382A-6E10-4A99-9AF5-EC25DA551A54}"/>
              </a:ext>
            </a:extLst>
          </p:cNvPr>
          <p:cNvSpPr/>
          <p:nvPr/>
        </p:nvSpPr>
        <p:spPr>
          <a:xfrm>
            <a:off x="2526221" y="2486611"/>
            <a:ext cx="1299259" cy="914400"/>
          </a:xfrm>
          <a:prstGeom prst="rect">
            <a:avLst/>
          </a:prstGeom>
          <a:solidFill>
            <a:srgbClr val="AC2641"/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Accou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2F6056-6D18-4B14-A199-774CC7D79363}"/>
              </a:ext>
            </a:extLst>
          </p:cNvPr>
          <p:cNvSpPr/>
          <p:nvPr/>
        </p:nvSpPr>
        <p:spPr>
          <a:xfrm>
            <a:off x="2086733" y="3572424"/>
            <a:ext cx="1299259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Rail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DA528F-CBF4-403D-8083-397492178DEE}"/>
              </a:ext>
            </a:extLst>
          </p:cNvPr>
          <p:cNvSpPr/>
          <p:nvPr/>
        </p:nvSpPr>
        <p:spPr>
          <a:xfrm>
            <a:off x="1647245" y="4654339"/>
            <a:ext cx="1299259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Ru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C4E284-845C-4772-B53A-5C9A863F979A}"/>
              </a:ext>
            </a:extLst>
          </p:cNvPr>
          <p:cNvSpPr/>
          <p:nvPr/>
        </p:nvSpPr>
        <p:spPr bwMode="auto">
          <a:xfrm>
            <a:off x="4264974" y="1430856"/>
            <a:ext cx="5688077" cy="90424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28588" tIns="0" rIns="42861" bIns="42863" numCol="1" rtlCol="0" anchor="ctr" anchorCtr="0" compatLnSpc="1">
            <a:prstTxWarp prst="textNoShape">
              <a:avLst/>
            </a:prstTxWarp>
          </a:bodyPr>
          <a:lstStyle/>
          <a:p>
            <a:pPr defTabSz="856836">
              <a:spcAft>
                <a:spcPts val="141"/>
              </a:spcAft>
            </a:pPr>
            <a:r>
              <a:rPr lang="en-US" sz="1400" b="1" kern="0" dirty="0">
                <a:solidFill>
                  <a:srgbClr val="629999"/>
                </a:solidFill>
                <a:latin typeface="Arial"/>
                <a:cs typeface="Calibri"/>
              </a:rPr>
              <a:t>Innovation Market for Value Added Services &amp; Products</a:t>
            </a:r>
          </a:p>
          <a:p>
            <a:pPr defTabSz="856836">
              <a:spcAft>
                <a:spcPts val="141"/>
              </a:spcAft>
            </a:pPr>
            <a:r>
              <a:rPr lang="en-US" sz="1051" i="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market ecosystem innovation that delivers affordable, effective pro-poor services and products </a:t>
            </a:r>
          </a:p>
          <a:p>
            <a:pPr defTabSz="856836">
              <a:spcAft>
                <a:spcPts val="141"/>
              </a:spcAft>
            </a:pPr>
            <a:r>
              <a:rPr lang="en-US" sz="1051" kern="0" dirty="0">
                <a:solidFill>
                  <a:srgbClr val="5945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: APIs and software library for developers to build, offer and deploy applica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D4987B-4F01-444D-BA57-B18BF7BE1CD1}"/>
              </a:ext>
            </a:extLst>
          </p:cNvPr>
          <p:cNvSpPr/>
          <p:nvPr/>
        </p:nvSpPr>
        <p:spPr>
          <a:xfrm>
            <a:off x="2965709" y="1420699"/>
            <a:ext cx="1299259" cy="914400"/>
          </a:xfrm>
          <a:prstGeom prst="rect">
            <a:avLst/>
          </a:prstGeom>
          <a:solidFill>
            <a:srgbClr val="AC2641"/>
          </a:solidFill>
          <a:ln w="12700" cmpd="sng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75934"/>
            <a:r>
              <a:rPr lang="en-US" sz="1725" kern="0" dirty="0">
                <a:solidFill>
                  <a:srgbClr val="FFFFFF"/>
                </a:solidFill>
                <a:latin typeface="Arial"/>
              </a:rPr>
              <a:t>App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542924-AF05-4480-8760-4041304F4628}"/>
              </a:ext>
            </a:extLst>
          </p:cNvPr>
          <p:cNvSpPr/>
          <p:nvPr/>
        </p:nvSpPr>
        <p:spPr>
          <a:xfrm rot="16200000">
            <a:off x="9274681" y="4317543"/>
            <a:ext cx="2001395" cy="51115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9170"/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 Spa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045E28-6842-4AAE-ADFF-9A9CA6F8B3A9}"/>
              </a:ext>
            </a:extLst>
          </p:cNvPr>
          <p:cNvSpPr/>
          <p:nvPr/>
        </p:nvSpPr>
        <p:spPr>
          <a:xfrm rot="16200000">
            <a:off x="9285223" y="2155277"/>
            <a:ext cx="1980312" cy="511156"/>
          </a:xfrm>
          <a:prstGeom prst="rect">
            <a:avLst/>
          </a:prstGeom>
          <a:solidFill>
            <a:srgbClr val="AC2641">
              <a:alpha val="96000"/>
            </a:srgb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219170"/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 Spa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6C5FAD-A428-439C-8696-DF7DD818CEB1}"/>
              </a:ext>
            </a:extLst>
          </p:cNvPr>
          <p:cNvSpPr/>
          <p:nvPr/>
        </p:nvSpPr>
        <p:spPr>
          <a:xfrm>
            <a:off x="437868" y="391385"/>
            <a:ext cx="4650632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2667" b="1" kern="0" dirty="0">
                <a:solidFill>
                  <a:srgbClr val="AC2641"/>
                </a:solidFill>
                <a:latin typeface="Arial"/>
                <a:cs typeface="Arial"/>
              </a:rPr>
              <a:t>L1P – Investment Roadmap</a:t>
            </a:r>
            <a:endParaRPr lang="en-US" sz="266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95E1E274-8EC9-4CFF-92AD-FA536CF84C24}"/>
              </a:ext>
            </a:extLst>
          </p:cNvPr>
          <p:cNvSpPr/>
          <p:nvPr/>
        </p:nvSpPr>
        <p:spPr>
          <a:xfrm>
            <a:off x="1207130" y="3429000"/>
            <a:ext cx="511157" cy="2401432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n-US" sz="2400">
              <a:solidFill>
                <a:srgbClr val="59452A"/>
              </a:solidFill>
              <a:latin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FC06A5-7026-45FA-8710-3CD561344CB6}"/>
              </a:ext>
            </a:extLst>
          </p:cNvPr>
          <p:cNvSpPr txBox="1"/>
          <p:nvPr/>
        </p:nvSpPr>
        <p:spPr>
          <a:xfrm>
            <a:off x="478898" y="3372404"/>
            <a:ext cx="661479" cy="24014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vert270" wrap="square" lIns="0" tIns="0" rIns="0" bIns="0" rtlCol="0">
            <a:noAutofit/>
          </a:bodyPr>
          <a:lstStyle/>
          <a:p>
            <a:pPr algn="ctr" defTabSz="1219170"/>
            <a:r>
              <a:rPr 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undation areas </a:t>
            </a:r>
          </a:p>
          <a:p>
            <a:pPr algn="ctr" defTabSz="1219170"/>
            <a:r>
              <a:rPr 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intervention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D264958-2E6B-4CD9-8D7E-BB4F5892A036}"/>
              </a:ext>
            </a:extLst>
          </p:cNvPr>
          <p:cNvSpPr txBox="1">
            <a:spLocks/>
          </p:cNvSpPr>
          <p:nvPr/>
        </p:nvSpPr>
        <p:spPr>
          <a:xfrm>
            <a:off x="11359635" y="6527357"/>
            <a:ext cx="381223" cy="3306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445F6309-42ED-4BA7-96F6-9AF03B5C5226}" type="slidenum">
              <a:rPr lang="en-US" altLang="en-US" sz="800">
                <a:solidFill>
                  <a:srgbClr val="59452A"/>
                </a:solidFill>
                <a:latin typeface="Arial"/>
              </a:rPr>
              <a:pPr defTabSz="1219170">
                <a:defRPr/>
              </a:pPr>
              <a:t>4</a:t>
            </a:fld>
            <a:endParaRPr lang="en-US" altLang="en-US" sz="800" dirty="0">
              <a:solidFill>
                <a:srgbClr val="59452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729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3C26FC5-D0D7-564D-B4F5-66CA499F9602}"/>
              </a:ext>
            </a:extLst>
          </p:cNvPr>
          <p:cNvSpPr/>
          <p:nvPr/>
        </p:nvSpPr>
        <p:spPr>
          <a:xfrm>
            <a:off x="495300" y="1562100"/>
            <a:ext cx="11112500" cy="4602163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992ED0-BDAE-3B41-BFB0-E091C8D8F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one project go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655EAC-E4DA-EA48-9293-7FAC3207D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00C699D-25A9-004F-AC5B-E335DD972B4C}"/>
              </a:ext>
            </a:extLst>
          </p:cNvPr>
          <p:cNvGrpSpPr/>
          <p:nvPr/>
        </p:nvGrpSpPr>
        <p:grpSpPr>
          <a:xfrm>
            <a:off x="1871034" y="1864129"/>
            <a:ext cx="8361032" cy="3998104"/>
            <a:chOff x="1521360" y="1850416"/>
            <a:chExt cx="8361032" cy="399810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EF5AA40-DE23-4D49-A8F8-353361D9BD9D}"/>
                </a:ext>
              </a:extLst>
            </p:cNvPr>
            <p:cNvGrpSpPr/>
            <p:nvPr/>
          </p:nvGrpSpPr>
          <p:grpSpPr>
            <a:xfrm>
              <a:off x="1521360" y="1850416"/>
              <a:ext cx="3450818" cy="3998104"/>
              <a:chOff x="1521360" y="1850416"/>
              <a:chExt cx="3450818" cy="3998104"/>
            </a:xfrm>
          </p:grpSpPr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10923B48-4A4A-3E45-9B4F-9632564DA887}"/>
                  </a:ext>
                </a:extLst>
              </p:cNvPr>
              <p:cNvCxnSpPr>
                <a:cxnSpLocks/>
                <a:stCxn id="24" idx="1"/>
                <a:endCxn id="26" idx="1"/>
              </p:cNvCxnSpPr>
              <p:nvPr/>
            </p:nvCxnSpPr>
            <p:spPr>
              <a:xfrm rot="10800000" flipV="1">
                <a:off x="1546759" y="2259411"/>
                <a:ext cx="12699" cy="1060038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Elbow Connector 15">
                <a:extLst>
                  <a:ext uri="{FF2B5EF4-FFF2-40B4-BE49-F238E27FC236}">
                    <a16:creationId xmlns:a16="http://schemas.microsoft.com/office/drawing/2014/main" id="{65AE543A-BC4B-4944-B616-839286C40BE7}"/>
                  </a:ext>
                </a:extLst>
              </p:cNvPr>
              <p:cNvCxnSpPr>
                <a:cxnSpLocks/>
                <a:stCxn id="26" idx="3"/>
                <a:endCxn id="27" idx="3"/>
              </p:cNvCxnSpPr>
              <p:nvPr/>
            </p:nvCxnSpPr>
            <p:spPr>
              <a:xfrm flipH="1">
                <a:off x="4946780" y="3319449"/>
                <a:ext cx="12699" cy="1060038"/>
              </a:xfrm>
              <a:prstGeom prst="bentConnector3">
                <a:avLst>
                  <a:gd name="adj1" fmla="val -18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Elbow Connector 16">
                <a:extLst>
                  <a:ext uri="{FF2B5EF4-FFF2-40B4-BE49-F238E27FC236}">
                    <a16:creationId xmlns:a16="http://schemas.microsoft.com/office/drawing/2014/main" id="{FF228491-87D0-7247-A0A8-8B4AB880E24D}"/>
                  </a:ext>
                </a:extLst>
              </p:cNvPr>
              <p:cNvCxnSpPr>
                <a:cxnSpLocks/>
                <a:stCxn id="27" idx="1"/>
                <a:endCxn id="28" idx="1"/>
              </p:cNvCxnSpPr>
              <p:nvPr/>
            </p:nvCxnSpPr>
            <p:spPr>
              <a:xfrm rot="10800000" flipV="1">
                <a:off x="1521361" y="4379486"/>
                <a:ext cx="12699" cy="1060039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D323693F-34DC-5C49-B7E0-51AA9C642A75}"/>
                  </a:ext>
                </a:extLst>
              </p:cNvPr>
              <p:cNvSpPr/>
              <p:nvPr/>
            </p:nvSpPr>
            <p:spPr>
              <a:xfrm>
                <a:off x="1559457" y="1850416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 Price to Users</a:t>
                </a: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B6CEBBB-6ADB-0A4D-8B1E-ADA32DBBBFCB}"/>
                  </a:ext>
                </a:extLst>
              </p:cNvPr>
              <p:cNvSpPr/>
              <p:nvPr/>
            </p:nvSpPr>
            <p:spPr>
              <a:xfrm>
                <a:off x="1546758" y="2910454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 Cost</a:t>
                </a:r>
              </a:p>
            </p:txBody>
          </p:sp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D3FD7A51-2570-F447-8A1A-22A810217500}"/>
                  </a:ext>
                </a:extLst>
              </p:cNvPr>
              <p:cNvSpPr/>
              <p:nvPr/>
            </p:nvSpPr>
            <p:spPr>
              <a:xfrm>
                <a:off x="1534059" y="3970492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fe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72E4984F-763C-2A4D-9E23-C0AA944991E0}"/>
                  </a:ext>
                </a:extLst>
              </p:cNvPr>
              <p:cNvSpPr/>
              <p:nvPr/>
            </p:nvSpPr>
            <p:spPr>
              <a:xfrm>
                <a:off x="1521360" y="5030531"/>
                <a:ext cx="3412721" cy="817989"/>
              </a:xfrm>
              <a:prstGeom prst="roundRect">
                <a:avLst/>
              </a:prstGeom>
              <a:solidFill>
                <a:schemeClr val="accent4"/>
              </a:solidFill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d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16DD0B6-8122-E049-A581-6C3EC74131C7}"/>
                </a:ext>
              </a:extLst>
            </p:cNvPr>
            <p:cNvGrpSpPr/>
            <p:nvPr/>
          </p:nvGrpSpPr>
          <p:grpSpPr>
            <a:xfrm>
              <a:off x="6431574" y="1850416"/>
              <a:ext cx="3450818" cy="3998104"/>
              <a:chOff x="6716136" y="1850416"/>
              <a:chExt cx="3450818" cy="3998104"/>
            </a:xfrm>
          </p:grpSpPr>
          <p:cxnSp>
            <p:nvCxnSpPr>
              <p:cNvPr id="45" name="Elbow Connector 44">
                <a:extLst>
                  <a:ext uri="{FF2B5EF4-FFF2-40B4-BE49-F238E27FC236}">
                    <a16:creationId xmlns:a16="http://schemas.microsoft.com/office/drawing/2014/main" id="{0C94409C-D20E-1D46-8EC3-05ECAF8CDEEB}"/>
                  </a:ext>
                </a:extLst>
              </p:cNvPr>
              <p:cNvCxnSpPr>
                <a:cxnSpLocks/>
                <a:stCxn id="48" idx="1"/>
                <a:endCxn id="49" idx="1"/>
              </p:cNvCxnSpPr>
              <p:nvPr/>
            </p:nvCxnSpPr>
            <p:spPr>
              <a:xfrm rot="10800000" flipV="1">
                <a:off x="6741535" y="2259411"/>
                <a:ext cx="12699" cy="1060038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Elbow Connector 45">
                <a:extLst>
                  <a:ext uri="{FF2B5EF4-FFF2-40B4-BE49-F238E27FC236}">
                    <a16:creationId xmlns:a16="http://schemas.microsoft.com/office/drawing/2014/main" id="{EA04F00C-FE39-2B4C-8A21-CC7F52DE36D7}"/>
                  </a:ext>
                </a:extLst>
              </p:cNvPr>
              <p:cNvCxnSpPr>
                <a:cxnSpLocks/>
                <a:stCxn id="49" idx="3"/>
                <a:endCxn id="50" idx="3"/>
              </p:cNvCxnSpPr>
              <p:nvPr/>
            </p:nvCxnSpPr>
            <p:spPr>
              <a:xfrm flipH="1">
                <a:off x="10141556" y="3319449"/>
                <a:ext cx="12699" cy="1060038"/>
              </a:xfrm>
              <a:prstGeom prst="bentConnector3">
                <a:avLst>
                  <a:gd name="adj1" fmla="val -18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Elbow Connector 46">
                <a:extLst>
                  <a:ext uri="{FF2B5EF4-FFF2-40B4-BE49-F238E27FC236}">
                    <a16:creationId xmlns:a16="http://schemas.microsoft.com/office/drawing/2014/main" id="{6546F8CA-557C-EA47-BECE-3B3AD1D48910}"/>
                  </a:ext>
                </a:extLst>
              </p:cNvPr>
              <p:cNvCxnSpPr>
                <a:cxnSpLocks/>
                <a:stCxn id="50" idx="1"/>
                <a:endCxn id="51" idx="1"/>
              </p:cNvCxnSpPr>
              <p:nvPr/>
            </p:nvCxnSpPr>
            <p:spPr>
              <a:xfrm rot="10800000" flipV="1">
                <a:off x="6716137" y="4379486"/>
                <a:ext cx="12699" cy="1060039"/>
              </a:xfrm>
              <a:prstGeom prst="bentConnector3">
                <a:avLst>
                  <a:gd name="adj1" fmla="val 1900142"/>
                </a:avLst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0713B69C-310F-104D-9863-4870BF444E20}"/>
                  </a:ext>
                </a:extLst>
              </p:cNvPr>
              <p:cNvSpPr/>
              <p:nvPr/>
            </p:nvSpPr>
            <p:spPr>
              <a:xfrm>
                <a:off x="6754233" y="1850416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sitively Impact the </a:t>
                </a:r>
                <a:b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ives of Poor People</a:t>
                </a:r>
              </a:p>
            </p:txBody>
          </p:sp>
          <p:sp>
            <p:nvSpPr>
              <p:cNvPr id="49" name="Rounded Rectangle 48">
                <a:extLst>
                  <a:ext uri="{FF2B5EF4-FFF2-40B4-BE49-F238E27FC236}">
                    <a16:creationId xmlns:a16="http://schemas.microsoft.com/office/drawing/2014/main" id="{FDC72C85-F0FE-6543-AD06-A2A75BAB7613}"/>
                  </a:ext>
                </a:extLst>
              </p:cNvPr>
              <p:cNvSpPr/>
              <p:nvPr/>
            </p:nvSpPr>
            <p:spPr>
              <a:xfrm>
                <a:off x="6741534" y="2910454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seful</a:t>
                </a:r>
              </a:p>
            </p:txBody>
          </p:sp>
          <p:sp>
            <p:nvSpPr>
              <p:cNvPr id="50" name="Rounded Rectangle 49">
                <a:extLst>
                  <a:ext uri="{FF2B5EF4-FFF2-40B4-BE49-F238E27FC236}">
                    <a16:creationId xmlns:a16="http://schemas.microsoft.com/office/drawing/2014/main" id="{6A66FF90-E2A8-A84E-A8B9-8DAD20B8CEB1}"/>
                  </a:ext>
                </a:extLst>
              </p:cNvPr>
              <p:cNvSpPr/>
              <p:nvPr/>
            </p:nvSpPr>
            <p:spPr>
              <a:xfrm>
                <a:off x="6728835" y="3970492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lusive</a:t>
                </a:r>
              </a:p>
            </p:txBody>
          </p: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E03A1C5B-4E10-F14F-94A8-46CE2351ECBE}"/>
                  </a:ext>
                </a:extLst>
              </p:cNvPr>
              <p:cNvSpPr/>
              <p:nvPr/>
            </p:nvSpPr>
            <p:spPr>
              <a:xfrm>
                <a:off x="6716136" y="5030531"/>
                <a:ext cx="3412721" cy="817989"/>
              </a:xfrm>
              <a:prstGeom prst="roundRect">
                <a:avLst/>
              </a:prstGeom>
              <a:solidFill>
                <a:schemeClr val="accent2"/>
              </a:solidFill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biquitou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025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cheme Design &amp; Governance </a:t>
            </a:r>
            <a:r>
              <a:rPr lang="en-US" sz="1200" b="0" dirty="0"/>
              <a:t>(1 of 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ow Cos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Use of the platform is ultra low-cost for the participating DFSP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ot-For-Loss Utilit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accent6"/>
                          </a:solidFill>
                          <a:latin typeface="+mn-lt"/>
                        </a:rPr>
                        <a:t>The scheme operates as a cost-recovery plus investment model and payments are considered a shared utility, not a profit maximizing activity.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Interoperab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DFSPs (Digital Financial Services Providers), including both banks and other licensed transaction account providers, are eligible to be direct participant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qual Ownership Opportunity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6"/>
                          </a:solidFill>
                          <a:latin typeface="+mn-lt"/>
                        </a:rPr>
                        <a:t>All direct participants of the scheme are provided equal opportunities in governance and ownership of the scheme. Alternatively, a scheme may be governed by a government entity for the benefit of everyone. 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rd Party Provider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ponsored non-licensed aggregators, processors, forex providers and similar entities may connect to the system to perform functions for end users or DFSP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Participant Engagement</a:t>
                      </a:r>
                    </a:p>
                  </a:txBody>
                  <a:tcPr marL="45708" marR="45708" marT="45708" marB="45708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6"/>
                          </a:solidFill>
                          <a:latin typeface="+mn-lt"/>
                        </a:rPr>
                        <a:t>Indirect and direct participants without ownership have formal and informal mechanisms to provide input on the direction of the scheme, and scheme rules. </a:t>
                      </a:r>
                    </a:p>
                  </a:txBody>
                  <a:tcPr marL="45708" marR="45708" marT="45708" marB="45708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25D2B21D-A1EF-834E-913D-915E1E60F7C0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47CD0984-E86D-8145-9809-B980395FD763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F14A02B4-A790-FB46-83C1-FDA48620E390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49715EC1-8FC8-094F-8A73-7DF96DFE2801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C6999529-10A5-584C-942D-F4008630F831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4A45D49F-667A-FC4D-BB9F-52DEDD87DD7A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7DAE1-1A95-274D-A20A-DF24F21E7F54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Scheme Design &amp; Governance </a:t>
            </a:r>
            <a:r>
              <a:rPr lang="en-US" sz="1200" b="0" dirty="0"/>
              <a:t>(2 of 2)</a:t>
            </a:r>
            <a:endParaRPr lang="en-US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Push/Real-Tim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provides push payments cleared on a real-time basis, where payer and payee accounts are immediately updated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Irrevocab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Payment orders cannot be rescinded once they reach the switch, providing the receiver assurance that payments received are safe and available for use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Good Fund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ayments cleared through the scheme present minimal settlement risk as they are already on deposit with settlement bank(s)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ettlemen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financial obligations among the DFSPs are settled same-day or faster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Use Cases for Scal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supports key domestic and cross-border retail use-cases, including P2P, C2B, C2G, G2P, P2G, B2C and CICO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raud Management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operates a shared fraud management utility. DFSPs retain responsibility for fraud and may operate or subscribe to additional fraud management service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35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Government Suppo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920433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Regulatio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scheme is regulated by financial regulator and operates in national fiat money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Supervision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The scheme enables regulators to monitor transactions in real-time and to receive regular reporting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Government Use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Government agencies use the scheme for retail disbursements and collections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Licensing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ities such as </a:t>
                      </a:r>
                      <a:r>
                        <a:rPr lang="en-US" sz="1400" b="0" i="0" kern="1200" dirty="0" err="1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oney</a:t>
                      </a:r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suers, special charter banks, or micro-finance institutions are licensed to provide transaction accounts in addition to Bank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92043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Tiered KYC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Regulator supports tiered KYC for transaction accounts and limits; tier 0 allows for a consumer with limited to no identification to self-issue a basic transaction account with controlled limits, which may vary by use case; as limits increase, KYC requirements increase.</a:t>
                      </a:r>
                      <a:endParaRPr lang="en-US" sz="1400" b="0" i="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50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1CAB0F0-22F3-C848-A4F2-212A9A03D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TRP L1P Design Principles: </a:t>
            </a:r>
            <a:r>
              <a:rPr lang="en-US" b="0" dirty="0"/>
              <a:t>End User Experie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BA907D-B18B-9046-AC76-CB8881E0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0442A-A587-DA4A-80BE-9E74F9AF5476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77339B2-9F44-A44A-8069-1514FF531D36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1562099"/>
          <a:ext cx="11101980" cy="460216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633639">
                  <a:extLst>
                    <a:ext uri="{9D8B030D-6E8A-4147-A177-3AD203B41FA5}">
                      <a16:colId xmlns:a16="http://schemas.microsoft.com/office/drawing/2014/main" val="4250342079"/>
                    </a:ext>
                  </a:extLst>
                </a:gridCol>
                <a:gridCol w="7468341">
                  <a:extLst>
                    <a:ext uri="{9D8B030D-6E8A-4147-A177-3AD203B41FA5}">
                      <a16:colId xmlns:a16="http://schemas.microsoft.com/office/drawing/2014/main" val="865559017"/>
                    </a:ext>
                  </a:extLst>
                </a:gridCol>
              </a:tblGrid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End User Fee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ees to end users (individuals, merchants, billers, etc..) should be very low, possibly zero, and may vary by use case. DFSPs realize most revenue from adjacent, value-added services, rather than from payment fee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56924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</a:rPr>
                        <a:t>Pricing Transparency</a:t>
                      </a:r>
                      <a:endParaRPr lang="en-US" sz="1800" b="1" dirty="0">
                        <a:solidFill>
                          <a:schemeClr val="accent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All fees charged to end-users are displayed prior to transaction execution and the paying customer confirms the transaction; foreign exchange fees extracted through less favorable exchange rates are included in this.</a:t>
                      </a:r>
                      <a:endParaRPr lang="en-US" sz="1400" i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66303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User Interface Design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he user interface (UI) is simple and intuitive for a user; the UI is designed to prevent user errors and frauds; this includes features like showing recipient name prior to commit, saving frequent recipients, and language localization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785709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Low Cost User Device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ll primary functions should be accessible to users with inexpensive basic/feature phones through USSD or SDK interfaces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639081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Access Point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ccess points, including merchants, billers, agents, branches, and ATMS are readily available for users to transact, cash in, and cash out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829066"/>
                  </a:ext>
                </a:extLst>
              </a:tr>
              <a:tr h="76702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accent4"/>
                          </a:solidFill>
                          <a:latin typeface="+mn-lt"/>
                          <a:cs typeface="Calibri" panose="020F0502020204030204" pitchFamily="34" charset="0"/>
                        </a:rPr>
                        <a:t>Notifications</a:t>
                      </a:r>
                    </a:p>
                  </a:txBody>
                  <a:tcPr marL="45708" marR="73133" marT="27425" marB="27425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i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tification of account activities sent immediately, only from user DFSP, and controllable by end user for privacy.</a:t>
                      </a:r>
                    </a:p>
                  </a:txBody>
                  <a:tcPr marL="73133" marR="73133" marT="27425" marB="27425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63911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6CE7161E-21CD-3346-B063-FF87058B7206}"/>
              </a:ext>
            </a:extLst>
          </p:cNvPr>
          <p:cNvGrpSpPr/>
          <p:nvPr/>
        </p:nvGrpSpPr>
        <p:grpSpPr>
          <a:xfrm>
            <a:off x="495299" y="52"/>
            <a:ext cx="10119282" cy="267578"/>
            <a:chOff x="495299" y="52"/>
            <a:chExt cx="7150194" cy="267578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64181E01-A9A9-9E48-8D73-E3339D257481}"/>
                </a:ext>
              </a:extLst>
            </p:cNvPr>
            <p:cNvSpPr/>
            <p:nvPr/>
          </p:nvSpPr>
          <p:spPr>
            <a:xfrm rot="10800000" flipV="1">
              <a:off x="4800881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ystem Design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D29F8FFE-5D96-874C-A27D-41920A7EB22C}"/>
                </a:ext>
              </a:extLst>
            </p:cNvPr>
            <p:cNvSpPr/>
            <p:nvPr/>
          </p:nvSpPr>
          <p:spPr>
            <a:xfrm rot="10800000" flipV="1">
              <a:off x="6236075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abling Attributes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FA6F58B5-BCC9-1648-8F0B-BC290D10DB47}"/>
                </a:ext>
              </a:extLst>
            </p:cNvPr>
            <p:cNvSpPr/>
            <p:nvPr/>
          </p:nvSpPr>
          <p:spPr>
            <a:xfrm rot="10800000" flipV="1">
              <a:off x="3365687" y="52"/>
              <a:ext cx="1409418" cy="267578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d User Experience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3CAEB08-6ABC-1D44-B377-53EBBC9B812F}"/>
                </a:ext>
              </a:extLst>
            </p:cNvPr>
            <p:cNvSpPr/>
            <p:nvPr/>
          </p:nvSpPr>
          <p:spPr>
            <a:xfrm rot="10800000" flipV="1">
              <a:off x="1930493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Government Support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DA3CF47-2460-3D4A-A30B-674D19CC65FE}"/>
                </a:ext>
              </a:extLst>
            </p:cNvPr>
            <p:cNvSpPr/>
            <p:nvPr/>
          </p:nvSpPr>
          <p:spPr>
            <a:xfrm rot="10800000" flipV="1">
              <a:off x="495299" y="52"/>
              <a:ext cx="1409418" cy="267578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24378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cheme Design &amp; Governanc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34309074-2CDE-6943-9505-1B64994F7129}"/>
              </a:ext>
            </a:extLst>
          </p:cNvPr>
          <p:cNvSpPr/>
          <p:nvPr/>
        </p:nvSpPr>
        <p:spPr>
          <a:xfrm>
            <a:off x="1" y="775"/>
            <a:ext cx="12188824" cy="7843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34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3.xml><?xml version="1.0" encoding="utf-8"?>
<a:theme xmlns:a="http://schemas.openxmlformats.org/drawingml/2006/main" name="3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Expanded Template_Jul 22 2016.potx [Read-Only]" id="{8DB56A1B-33AE-4265-B247-CD41130FBAA2}" vid="{46995FD6-3E56-4281-B8D6-0CDFB004A5F0}"/>
    </a:ext>
  </a:extLst>
</a:theme>
</file>

<file path=ppt/theme/theme4.xml><?xml version="1.0" encoding="utf-8"?>
<a:theme xmlns:a="http://schemas.openxmlformats.org/drawingml/2006/main" name="1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5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400" dirty="0" smtClean="0">
            <a:solidFill>
              <a:schemeClr val="bg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 anchor="ctr">
        <a:noAutofit/>
      </a:bodyPr>
      <a:lstStyle>
        <a:defPPr>
          <a:defRPr sz="2000" smtClean="0">
            <a:solidFill>
              <a:schemeClr val="tx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tz" id="{05BFC3A8-5BEB-DB41-98A7-C398CC8E5AAD}" vid="{5E5DDD66-2F65-874F-A1BA-0D97C8CDDEF4}"/>
    </a:ext>
  </a:extLst>
</a:theme>
</file>

<file path=ppt/theme/theme6.xml><?xml version="1.0" encoding="utf-8"?>
<a:theme xmlns:a="http://schemas.openxmlformats.org/drawingml/2006/main" name="5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7.xml><?xml version="1.0" encoding="utf-8"?>
<a:theme xmlns:a="http://schemas.openxmlformats.org/drawingml/2006/main" name="6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7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 anchor="ctr">
        <a:noAutofit/>
      </a:bodyPr>
      <a:lstStyle>
        <a:defPPr>
          <a:defRPr sz="2000" smtClean="0">
            <a:solidFill>
              <a:schemeClr val="tx1"/>
            </a:solidFill>
            <a:latin typeface="Calibri" charset="0"/>
            <a:ea typeface="Calibri" charset="0"/>
            <a:cs typeface="Calibri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tz" id="{05BFC3A8-5BEB-DB41-98A7-C398CC8E5AAD}" vid="{5E5DDD66-2F65-874F-A1BA-0D97C8CDDEF4}"/>
    </a:ext>
  </a:extLst>
</a:theme>
</file>

<file path=ppt/theme/theme9.xml><?xml version="1.0" encoding="utf-8"?>
<a:theme xmlns:a="http://schemas.openxmlformats.org/drawingml/2006/main" name="USP MLE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141EA96-2A0F-7F40-9CCE-FE7B3BB11294}" vid="{F3DD5B51-3E79-584F-A6B4-1A166397976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19</TotalTime>
  <Words>1692</Words>
  <Application>Microsoft Office PowerPoint</Application>
  <PresentationFormat>Widescreen</PresentationFormat>
  <Paragraphs>204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Arial</vt:lpstr>
      <vt:lpstr>Avenir LT Std 55 Roman</vt:lpstr>
      <vt:lpstr>Calibri</vt:lpstr>
      <vt:lpstr>DIN Pro Regular</vt:lpstr>
      <vt:lpstr>Lucida Grande</vt:lpstr>
      <vt:lpstr>Segoe</vt:lpstr>
      <vt:lpstr>Wingdings</vt:lpstr>
      <vt:lpstr>Foundation Master Slides</vt:lpstr>
      <vt:lpstr>2_Foundation Master Slides</vt:lpstr>
      <vt:lpstr>3_Foundation Master Slides</vt:lpstr>
      <vt:lpstr>1_Foundation Master Slides</vt:lpstr>
      <vt:lpstr>4_Foundation Master Slides</vt:lpstr>
      <vt:lpstr>5_Foundation Master Slides</vt:lpstr>
      <vt:lpstr>6_Foundation Master Slides</vt:lpstr>
      <vt:lpstr>7_Foundation Master Slides</vt:lpstr>
      <vt:lpstr>USP MLE Master Slides</vt:lpstr>
      <vt:lpstr>think-cell Slide</vt:lpstr>
      <vt:lpstr>Introduction to:  - Gates Foundation FSP   - THE Level One principles  - Mojaloop   </vt:lpstr>
      <vt:lpstr>PowerPoint Presentation</vt:lpstr>
      <vt:lpstr>THE GATES FOUNDATION AND FINANCIAL SERVICES FOR THE POOR (fsp)</vt:lpstr>
      <vt:lpstr>PowerPoint Presentation</vt:lpstr>
      <vt:lpstr>Level one project goals</vt:lpstr>
      <vt:lpstr>RTRP L1P Design Principles: Scheme Design &amp; Governance (1 of 2)</vt:lpstr>
      <vt:lpstr>RTRP L1P Design Principles: Scheme Design &amp; Governance (2 of 2)</vt:lpstr>
      <vt:lpstr>RTRP L1P Design Principles: Government Support</vt:lpstr>
      <vt:lpstr>RTRP L1P Design Principles: End User Experience</vt:lpstr>
      <vt:lpstr>RTRP L1P Design Principles: System Design</vt:lpstr>
      <vt:lpstr>RTRP L1P Design Principles: Enabling Attributes</vt:lpstr>
      <vt:lpstr>Market assets &amp;  Resources</vt:lpstr>
      <vt:lpstr>PowerPoint Presentation</vt:lpstr>
      <vt:lpstr>PowerPoint Presentation</vt:lpstr>
      <vt:lpstr>Mojaloop goa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r Goals:​ By 2030, ensure that 80% of adults worldwide and 60% of sub-$2.5/day adults use a digital account for a service beyond P2P transfers, up from 50% and 22%, respectively as of 2014.  We also aim to cut the gender gap in usage in half by 2030.</dc:title>
  <dc:creator>Matt Bohan</dc:creator>
  <cp:lastModifiedBy>Matt Bohan</cp:lastModifiedBy>
  <cp:revision>52</cp:revision>
  <cp:lastPrinted>2020-02-19T08:17:24Z</cp:lastPrinted>
  <dcterms:created xsi:type="dcterms:W3CDTF">2019-04-13T02:45:02Z</dcterms:created>
  <dcterms:modified xsi:type="dcterms:W3CDTF">2023-03-05T09:17:43Z</dcterms:modified>
</cp:coreProperties>
</file>